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61.xml" ContentType="application/vnd.openxmlformats-officedocument.presentationml.tags+xml"/>
  <Override PartName="/ppt/notesSlides/notesSlide1.xml" ContentType="application/vnd.openxmlformats-officedocument.presentationml.notesSlide+xml"/>
  <Override PartName="/ppt/tags/tag16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Lst>
  <p:notesMasterIdLst>
    <p:notesMasterId r:id="rId5"/>
  </p:notesMasterIdLst>
  <p:handoutMasterIdLst>
    <p:handoutMasterId r:id="rId6"/>
  </p:handoutMasterIdLst>
  <p:sldIdLst>
    <p:sldId id="258" r:id="rId2"/>
    <p:sldId id="308" r:id="rId3"/>
    <p:sldId id="307" r:id="rId4"/>
  </p:sldIdLst>
  <p:sldSz cx="7561263" cy="10693400"/>
  <p:notesSz cx="6797675" cy="9926638"/>
  <p:custDataLst>
    <p:tags r:id="rId7"/>
  </p:custDataLst>
  <p:defaultTextStyle>
    <a:defPPr>
      <a:defRPr lang="en-US"/>
    </a:defPPr>
    <a:lvl1pPr marL="0" algn="l" defTabSz="995690" rtl="0" eaLnBrk="1" latinLnBrk="0" hangingPunct="1">
      <a:defRPr sz="2000" kern="1200">
        <a:solidFill>
          <a:schemeClr val="tx1"/>
        </a:solidFill>
        <a:latin typeface="+mn-lt"/>
        <a:ea typeface="+mn-ea"/>
        <a:cs typeface="+mn-cs"/>
      </a:defRPr>
    </a:lvl1pPr>
    <a:lvl2pPr marL="497845" algn="l" defTabSz="995690" rtl="0" eaLnBrk="1" latinLnBrk="0" hangingPunct="1">
      <a:defRPr sz="2000" kern="1200">
        <a:solidFill>
          <a:schemeClr val="tx1"/>
        </a:solidFill>
        <a:latin typeface="+mn-lt"/>
        <a:ea typeface="+mn-ea"/>
        <a:cs typeface="+mn-cs"/>
      </a:defRPr>
    </a:lvl2pPr>
    <a:lvl3pPr marL="995690" algn="l" defTabSz="995690" rtl="0" eaLnBrk="1" latinLnBrk="0" hangingPunct="1">
      <a:defRPr sz="2000" kern="1200">
        <a:solidFill>
          <a:schemeClr val="tx1"/>
        </a:solidFill>
        <a:latin typeface="+mn-lt"/>
        <a:ea typeface="+mn-ea"/>
        <a:cs typeface="+mn-cs"/>
      </a:defRPr>
    </a:lvl3pPr>
    <a:lvl4pPr marL="1493535" algn="l" defTabSz="995690" rtl="0" eaLnBrk="1" latinLnBrk="0" hangingPunct="1">
      <a:defRPr sz="2000" kern="1200">
        <a:solidFill>
          <a:schemeClr val="tx1"/>
        </a:solidFill>
        <a:latin typeface="+mn-lt"/>
        <a:ea typeface="+mn-ea"/>
        <a:cs typeface="+mn-cs"/>
      </a:defRPr>
    </a:lvl4pPr>
    <a:lvl5pPr marL="1991380" algn="l" defTabSz="995690" rtl="0" eaLnBrk="1" latinLnBrk="0" hangingPunct="1">
      <a:defRPr sz="2000" kern="1200">
        <a:solidFill>
          <a:schemeClr val="tx1"/>
        </a:solidFill>
        <a:latin typeface="+mn-lt"/>
        <a:ea typeface="+mn-ea"/>
        <a:cs typeface="+mn-cs"/>
      </a:defRPr>
    </a:lvl5pPr>
    <a:lvl6pPr marL="2489225" algn="l" defTabSz="995690" rtl="0" eaLnBrk="1" latinLnBrk="0" hangingPunct="1">
      <a:defRPr sz="2000" kern="1200">
        <a:solidFill>
          <a:schemeClr val="tx1"/>
        </a:solidFill>
        <a:latin typeface="+mn-lt"/>
        <a:ea typeface="+mn-ea"/>
        <a:cs typeface="+mn-cs"/>
      </a:defRPr>
    </a:lvl6pPr>
    <a:lvl7pPr marL="2987070" algn="l" defTabSz="995690" rtl="0" eaLnBrk="1" latinLnBrk="0" hangingPunct="1">
      <a:defRPr sz="2000" kern="1200">
        <a:solidFill>
          <a:schemeClr val="tx1"/>
        </a:solidFill>
        <a:latin typeface="+mn-lt"/>
        <a:ea typeface="+mn-ea"/>
        <a:cs typeface="+mn-cs"/>
      </a:defRPr>
    </a:lvl7pPr>
    <a:lvl8pPr marL="3484916" algn="l" defTabSz="995690" rtl="0" eaLnBrk="1" latinLnBrk="0" hangingPunct="1">
      <a:defRPr sz="2000" kern="1200">
        <a:solidFill>
          <a:schemeClr val="tx1"/>
        </a:solidFill>
        <a:latin typeface="+mn-lt"/>
        <a:ea typeface="+mn-ea"/>
        <a:cs typeface="+mn-cs"/>
      </a:defRPr>
    </a:lvl8pPr>
    <a:lvl9pPr marL="3982761" algn="l" defTabSz="995690" rtl="0" eaLnBrk="1" latinLnBrk="0" hangingPunct="1">
      <a:defRPr sz="20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4002B"/>
    <a:srgbClr val="FFFFFF"/>
    <a:srgbClr val="0093B2"/>
    <a:srgbClr val="000000"/>
    <a:srgbClr val="969797"/>
    <a:srgbClr val="979796"/>
    <a:srgbClr val="C3C4C4"/>
    <a:srgbClr val="DEE1AA"/>
    <a:srgbClr val="FFC5A3"/>
    <a:srgbClr val="FF986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610" autoAdjust="0"/>
    <p:restoredTop sz="93120" autoAdjust="0"/>
  </p:normalViewPr>
  <p:slideViewPr>
    <p:cSldViewPr snapToGrid="0">
      <p:cViewPr varScale="1">
        <p:scale>
          <a:sx n="74" d="100"/>
          <a:sy n="74" d="100"/>
        </p:scale>
        <p:origin x="3090" y="66"/>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showGuides="1">
      <p:cViewPr varScale="1">
        <p:scale>
          <a:sx n="86" d="100"/>
          <a:sy n="86" d="100"/>
        </p:scale>
        <p:origin x="2928" y="78"/>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tags" Target="tags/tag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handoutMaster" Target="handoutMasters/handoutMaster1.xml"/><Relationship Id="rId11" Type="http://schemas.openxmlformats.org/officeDocument/2006/relationships/tableStyles" Target="tableStyles.xml"/><Relationship Id="rId5" Type="http://schemas.openxmlformats.org/officeDocument/2006/relationships/notesMaster" Target="notesMasters/notesMaster1.xml"/><Relationship Id="rId10"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NZ" dirty="0"/>
          </a:p>
        </p:txBody>
      </p:sp>
      <p:sp>
        <p:nvSpPr>
          <p:cNvPr id="3" name="Date Placeholder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A5CC0A17-3E35-4921-BF07-F4A461A7E825}" type="datetimeFigureOut">
              <a:rPr lang="en-NZ" smtClean="0"/>
              <a:t>19/02/2024</a:t>
            </a:fld>
            <a:endParaRPr lang="en-NZ" dirty="0"/>
          </a:p>
        </p:txBody>
      </p:sp>
      <p:sp>
        <p:nvSpPr>
          <p:cNvPr id="4" name="Footer Placehold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en-NZ" dirty="0"/>
          </a:p>
        </p:txBody>
      </p:sp>
      <p:sp>
        <p:nvSpPr>
          <p:cNvPr id="5" name="Slide Number Placehold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50881CBE-B88E-49F7-A36D-8BEACD82F9E3}" type="slidenum">
              <a:rPr lang="en-NZ" smtClean="0"/>
              <a:t>‹#›</a:t>
            </a:fld>
            <a:endParaRPr lang="en-NZ" dirty="0"/>
          </a:p>
        </p:txBody>
      </p:sp>
    </p:spTree>
    <p:extLst>
      <p:ext uri="{BB962C8B-B14F-4D97-AF65-F5344CB8AC3E}">
        <p14:creationId xmlns:p14="http://schemas.microsoft.com/office/powerpoint/2010/main" val="1855904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D36F24F6-1556-47AD-907E-11C4C804A6C2}" type="datetimeFigureOut">
              <a:rPr lang="en-GB" smtClean="0"/>
              <a:t>19/02/2024</a:t>
            </a:fld>
            <a:endParaRPr lang="en-GB" dirty="0"/>
          </a:p>
        </p:txBody>
      </p:sp>
      <p:sp>
        <p:nvSpPr>
          <p:cNvPr id="4" name="Slide Image Placeholder 3"/>
          <p:cNvSpPr>
            <a:spLocks noGrp="1" noRot="1" noChangeAspect="1"/>
          </p:cNvSpPr>
          <p:nvPr>
            <p:ph type="sldImg" idx="2"/>
          </p:nvPr>
        </p:nvSpPr>
        <p:spPr>
          <a:xfrm>
            <a:off x="2082800" y="744538"/>
            <a:ext cx="2632075" cy="3722687"/>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8731FDDB-74AF-466F-B92E-1346EC410FDE}" type="slidenum">
              <a:rPr lang="en-GB" smtClean="0"/>
              <a:t>‹#›</a:t>
            </a:fld>
            <a:endParaRPr lang="en-GB" dirty="0"/>
          </a:p>
        </p:txBody>
      </p:sp>
    </p:spTree>
    <p:extLst>
      <p:ext uri="{BB962C8B-B14F-4D97-AF65-F5344CB8AC3E}">
        <p14:creationId xmlns:p14="http://schemas.microsoft.com/office/powerpoint/2010/main" val="1495987017"/>
      </p:ext>
    </p:extLst>
  </p:cSld>
  <p:clrMap bg1="lt1" tx1="dk1" bg2="lt2" tx2="dk2" accent1="accent1" accent2="accent2" accent3="accent3" accent4="accent4" accent5="accent5" accent6="accent6" hlink="hlink" folHlink="folHlink"/>
  <p:notesStyle>
    <a:lvl1pPr marL="0" algn="l" defTabSz="995690" rtl="0" eaLnBrk="1" latinLnBrk="0" hangingPunct="1">
      <a:defRPr sz="1300" kern="1200">
        <a:solidFill>
          <a:schemeClr val="tx1"/>
        </a:solidFill>
        <a:latin typeface="+mn-lt"/>
        <a:ea typeface="+mn-ea"/>
        <a:cs typeface="+mn-cs"/>
      </a:defRPr>
    </a:lvl1pPr>
    <a:lvl2pPr marL="497845" algn="l" defTabSz="995690" rtl="0" eaLnBrk="1" latinLnBrk="0" hangingPunct="1">
      <a:defRPr sz="1300" kern="1200">
        <a:solidFill>
          <a:schemeClr val="tx1"/>
        </a:solidFill>
        <a:latin typeface="+mn-lt"/>
        <a:ea typeface="+mn-ea"/>
        <a:cs typeface="+mn-cs"/>
      </a:defRPr>
    </a:lvl2pPr>
    <a:lvl3pPr marL="995690" algn="l" defTabSz="995690" rtl="0" eaLnBrk="1" latinLnBrk="0" hangingPunct="1">
      <a:defRPr sz="1300" kern="1200">
        <a:solidFill>
          <a:schemeClr val="tx1"/>
        </a:solidFill>
        <a:latin typeface="+mn-lt"/>
        <a:ea typeface="+mn-ea"/>
        <a:cs typeface="+mn-cs"/>
      </a:defRPr>
    </a:lvl3pPr>
    <a:lvl4pPr marL="1493535" algn="l" defTabSz="995690" rtl="0" eaLnBrk="1" latinLnBrk="0" hangingPunct="1">
      <a:defRPr sz="1300" kern="1200">
        <a:solidFill>
          <a:schemeClr val="tx1"/>
        </a:solidFill>
        <a:latin typeface="+mn-lt"/>
        <a:ea typeface="+mn-ea"/>
        <a:cs typeface="+mn-cs"/>
      </a:defRPr>
    </a:lvl4pPr>
    <a:lvl5pPr marL="1991380" algn="l" defTabSz="995690" rtl="0" eaLnBrk="1" latinLnBrk="0" hangingPunct="1">
      <a:defRPr sz="1300" kern="1200">
        <a:solidFill>
          <a:schemeClr val="tx1"/>
        </a:solidFill>
        <a:latin typeface="+mn-lt"/>
        <a:ea typeface="+mn-ea"/>
        <a:cs typeface="+mn-cs"/>
      </a:defRPr>
    </a:lvl5pPr>
    <a:lvl6pPr marL="2489225" algn="l" defTabSz="995690" rtl="0" eaLnBrk="1" latinLnBrk="0" hangingPunct="1">
      <a:defRPr sz="1300" kern="1200">
        <a:solidFill>
          <a:schemeClr val="tx1"/>
        </a:solidFill>
        <a:latin typeface="+mn-lt"/>
        <a:ea typeface="+mn-ea"/>
        <a:cs typeface="+mn-cs"/>
      </a:defRPr>
    </a:lvl6pPr>
    <a:lvl7pPr marL="2987070" algn="l" defTabSz="995690" rtl="0" eaLnBrk="1" latinLnBrk="0" hangingPunct="1">
      <a:defRPr sz="1300" kern="1200">
        <a:solidFill>
          <a:schemeClr val="tx1"/>
        </a:solidFill>
        <a:latin typeface="+mn-lt"/>
        <a:ea typeface="+mn-ea"/>
        <a:cs typeface="+mn-cs"/>
      </a:defRPr>
    </a:lvl7pPr>
    <a:lvl8pPr marL="3484916" algn="l" defTabSz="995690" rtl="0" eaLnBrk="1" latinLnBrk="0" hangingPunct="1">
      <a:defRPr sz="1300" kern="1200">
        <a:solidFill>
          <a:schemeClr val="tx1"/>
        </a:solidFill>
        <a:latin typeface="+mn-lt"/>
        <a:ea typeface="+mn-ea"/>
        <a:cs typeface="+mn-cs"/>
      </a:defRPr>
    </a:lvl8pPr>
    <a:lvl9pPr marL="3982761" algn="l" defTabSz="995690"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31FDDB-74AF-466F-B92E-1346EC410FDE}" type="slidenum">
              <a:rPr lang="en-GB" smtClean="0"/>
              <a:t>0</a:t>
            </a:fld>
            <a:endParaRPr lang="en-GB" dirty="0"/>
          </a:p>
        </p:txBody>
      </p:sp>
    </p:spTree>
    <p:extLst>
      <p:ext uri="{BB962C8B-B14F-4D97-AF65-F5344CB8AC3E}">
        <p14:creationId xmlns:p14="http://schemas.microsoft.com/office/powerpoint/2010/main" val="24856804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31FDDB-74AF-466F-B92E-1346EC410FDE}" type="slidenum">
              <a:rPr lang="en-GB" smtClean="0"/>
              <a:t>1</a:t>
            </a:fld>
            <a:endParaRPr lang="en-GB" dirty="0"/>
          </a:p>
        </p:txBody>
      </p:sp>
    </p:spTree>
    <p:extLst>
      <p:ext uri="{BB962C8B-B14F-4D97-AF65-F5344CB8AC3E}">
        <p14:creationId xmlns:p14="http://schemas.microsoft.com/office/powerpoint/2010/main" val="33932130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31FDDB-74AF-466F-B92E-1346EC410FDE}" type="slidenum">
              <a:rPr lang="en-GB" smtClean="0"/>
              <a:t>2</a:t>
            </a:fld>
            <a:endParaRPr lang="en-GB" dirty="0"/>
          </a:p>
        </p:txBody>
      </p:sp>
    </p:spTree>
    <p:extLst>
      <p:ext uri="{BB962C8B-B14F-4D97-AF65-F5344CB8AC3E}">
        <p14:creationId xmlns:p14="http://schemas.microsoft.com/office/powerpoint/2010/main" val="169583332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xml"/><Relationship Id="rId7" Type="http://schemas.openxmlformats.org/officeDocument/2006/relationships/oleObject" Target="../embeddings/oleObject2.bin"/><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png"/><Relationship Id="rId5" Type="http://schemas.openxmlformats.org/officeDocument/2006/relationships/slideMaster" Target="../slideMasters/slideMaster1.xml"/><Relationship Id="rId4" Type="http://schemas.openxmlformats.org/officeDocument/2006/relationships/tags" Target="../tags/tag6.xml"/><Relationship Id="rId9"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1.xml"/><Relationship Id="rId7" Type="http://schemas.openxmlformats.org/officeDocument/2006/relationships/oleObject" Target="../embeddings/oleObject10.bin"/><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slideMaster" Target="../slideMasters/slideMaster1.xml"/><Relationship Id="rId5" Type="http://schemas.openxmlformats.org/officeDocument/2006/relationships/tags" Target="../tags/tag33.xml"/><Relationship Id="rId4" Type="http://schemas.openxmlformats.org/officeDocument/2006/relationships/tags" Target="../tags/tag32.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1.emf"/><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4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45.xml"/><Relationship Id="rId7" Type="http://schemas.openxmlformats.org/officeDocument/2006/relationships/image" Target="../media/image1.emf"/><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oleObject" Target="../embeddings/oleObject12.bin"/><Relationship Id="rId5" Type="http://schemas.openxmlformats.org/officeDocument/2006/relationships/slideMaster" Target="../slideMasters/slideMaster1.xml"/><Relationship Id="rId4" Type="http://schemas.openxmlformats.org/officeDocument/2006/relationships/tags" Target="../tags/tag46.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8.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0.xml"/><Relationship Id="rId9"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57.xml"/><Relationship Id="rId7" Type="http://schemas.openxmlformats.org/officeDocument/2006/relationships/image" Target="../media/image1.emf"/><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oleObject" Target="../embeddings/oleObject15.bin"/><Relationship Id="rId5" Type="http://schemas.openxmlformats.org/officeDocument/2006/relationships/slideMaster" Target="../slideMasters/slideMaster1.xml"/><Relationship Id="rId4" Type="http://schemas.openxmlformats.org/officeDocument/2006/relationships/tags" Target="../tags/tag58.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image" Target="../media/image1.emf"/><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oleObject" Target="../embeddings/oleObject16.bin"/><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slideMaster" Target="../slideMasters/slideMaster1.xml"/><Relationship Id="rId5" Type="http://schemas.openxmlformats.org/officeDocument/2006/relationships/tags" Target="../tags/tag63.xml"/><Relationship Id="rId10" Type="http://schemas.openxmlformats.org/officeDocument/2006/relationships/tags" Target="../tags/tag68.xml"/><Relationship Id="rId4" Type="http://schemas.openxmlformats.org/officeDocument/2006/relationships/tags" Target="../tags/tag62.xml"/><Relationship Id="rId9" Type="http://schemas.openxmlformats.org/officeDocument/2006/relationships/tags" Target="../tags/tag67.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tags" Target="../tags/tag81.xml"/><Relationship Id="rId3" Type="http://schemas.openxmlformats.org/officeDocument/2006/relationships/tags" Target="../tags/tag71.xml"/><Relationship Id="rId7" Type="http://schemas.openxmlformats.org/officeDocument/2006/relationships/tags" Target="../tags/tag75.xml"/><Relationship Id="rId12" Type="http://schemas.openxmlformats.org/officeDocument/2006/relationships/tags" Target="../tags/tag80.xml"/><Relationship Id="rId17" Type="http://schemas.openxmlformats.org/officeDocument/2006/relationships/image" Target="../media/image1.emf"/><Relationship Id="rId2" Type="http://schemas.openxmlformats.org/officeDocument/2006/relationships/tags" Target="../tags/tag70.xml"/><Relationship Id="rId16" Type="http://schemas.openxmlformats.org/officeDocument/2006/relationships/oleObject" Target="../embeddings/oleObject17.bin"/><Relationship Id="rId1" Type="http://schemas.openxmlformats.org/officeDocument/2006/relationships/tags" Target="../tags/tag69.xml"/><Relationship Id="rId6" Type="http://schemas.openxmlformats.org/officeDocument/2006/relationships/tags" Target="../tags/tag74.xml"/><Relationship Id="rId11" Type="http://schemas.openxmlformats.org/officeDocument/2006/relationships/tags" Target="../tags/tag79.xml"/><Relationship Id="rId5" Type="http://schemas.openxmlformats.org/officeDocument/2006/relationships/tags" Target="../tags/tag73.xml"/><Relationship Id="rId15" Type="http://schemas.openxmlformats.org/officeDocument/2006/relationships/slideMaster" Target="../slideMasters/slideMaster1.xml"/><Relationship Id="rId10" Type="http://schemas.openxmlformats.org/officeDocument/2006/relationships/tags" Target="../tags/tag78.xml"/><Relationship Id="rId4" Type="http://schemas.openxmlformats.org/officeDocument/2006/relationships/tags" Target="../tags/tag72.xml"/><Relationship Id="rId9" Type="http://schemas.openxmlformats.org/officeDocument/2006/relationships/tags" Target="../tags/tag77.xml"/><Relationship Id="rId14" Type="http://schemas.openxmlformats.org/officeDocument/2006/relationships/tags" Target="../tags/tag82.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tags" Target="../tags/tag95.xml"/><Relationship Id="rId18" Type="http://schemas.openxmlformats.org/officeDocument/2006/relationships/tags" Target="../tags/tag100.xml"/><Relationship Id="rId26" Type="http://schemas.openxmlformats.org/officeDocument/2006/relationships/tags" Target="../tags/tag108.xml"/><Relationship Id="rId3" Type="http://schemas.openxmlformats.org/officeDocument/2006/relationships/tags" Target="../tags/tag85.xml"/><Relationship Id="rId21" Type="http://schemas.openxmlformats.org/officeDocument/2006/relationships/tags" Target="../tags/tag103.xml"/><Relationship Id="rId7" Type="http://schemas.openxmlformats.org/officeDocument/2006/relationships/tags" Target="../tags/tag89.xml"/><Relationship Id="rId12" Type="http://schemas.openxmlformats.org/officeDocument/2006/relationships/tags" Target="../tags/tag94.xml"/><Relationship Id="rId17" Type="http://schemas.openxmlformats.org/officeDocument/2006/relationships/tags" Target="../tags/tag99.xml"/><Relationship Id="rId25" Type="http://schemas.openxmlformats.org/officeDocument/2006/relationships/tags" Target="../tags/tag107.xml"/><Relationship Id="rId2" Type="http://schemas.openxmlformats.org/officeDocument/2006/relationships/tags" Target="../tags/tag84.xml"/><Relationship Id="rId16" Type="http://schemas.openxmlformats.org/officeDocument/2006/relationships/tags" Target="../tags/tag98.xml"/><Relationship Id="rId20" Type="http://schemas.openxmlformats.org/officeDocument/2006/relationships/tags" Target="../tags/tag102.xml"/><Relationship Id="rId29" Type="http://schemas.openxmlformats.org/officeDocument/2006/relationships/image" Target="../media/image1.emf"/><Relationship Id="rId1" Type="http://schemas.openxmlformats.org/officeDocument/2006/relationships/tags" Target="../tags/tag83.xml"/><Relationship Id="rId6" Type="http://schemas.openxmlformats.org/officeDocument/2006/relationships/tags" Target="../tags/tag88.xml"/><Relationship Id="rId11" Type="http://schemas.openxmlformats.org/officeDocument/2006/relationships/tags" Target="../tags/tag93.xml"/><Relationship Id="rId24" Type="http://schemas.openxmlformats.org/officeDocument/2006/relationships/tags" Target="../tags/tag106.xml"/><Relationship Id="rId5" Type="http://schemas.openxmlformats.org/officeDocument/2006/relationships/tags" Target="../tags/tag87.xml"/><Relationship Id="rId15" Type="http://schemas.openxmlformats.org/officeDocument/2006/relationships/tags" Target="../tags/tag97.xml"/><Relationship Id="rId23" Type="http://schemas.openxmlformats.org/officeDocument/2006/relationships/tags" Target="../tags/tag105.xml"/><Relationship Id="rId28" Type="http://schemas.openxmlformats.org/officeDocument/2006/relationships/oleObject" Target="../embeddings/oleObject18.bin"/><Relationship Id="rId10" Type="http://schemas.openxmlformats.org/officeDocument/2006/relationships/tags" Target="../tags/tag92.xml"/><Relationship Id="rId19" Type="http://schemas.openxmlformats.org/officeDocument/2006/relationships/tags" Target="../tags/tag101.xml"/><Relationship Id="rId4" Type="http://schemas.openxmlformats.org/officeDocument/2006/relationships/tags" Target="../tags/tag86.xml"/><Relationship Id="rId9" Type="http://schemas.openxmlformats.org/officeDocument/2006/relationships/tags" Target="../tags/tag91.xml"/><Relationship Id="rId14" Type="http://schemas.openxmlformats.org/officeDocument/2006/relationships/tags" Target="../tags/tag96.xml"/><Relationship Id="rId22" Type="http://schemas.openxmlformats.org/officeDocument/2006/relationships/tags" Target="../tags/tag104.xml"/><Relationship Id="rId27"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116.xml"/><Relationship Id="rId13" Type="http://schemas.openxmlformats.org/officeDocument/2006/relationships/image" Target="../media/image1.emf"/><Relationship Id="rId3" Type="http://schemas.openxmlformats.org/officeDocument/2006/relationships/tags" Target="../tags/tag111.xml"/><Relationship Id="rId7" Type="http://schemas.openxmlformats.org/officeDocument/2006/relationships/tags" Target="../tags/tag115.xml"/><Relationship Id="rId12" Type="http://schemas.openxmlformats.org/officeDocument/2006/relationships/oleObject" Target="../embeddings/oleObject19.bin"/><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tags" Target="../tags/tag114.xml"/><Relationship Id="rId11" Type="http://schemas.openxmlformats.org/officeDocument/2006/relationships/slideMaster" Target="../slideMasters/slideMaster1.xml"/><Relationship Id="rId5" Type="http://schemas.openxmlformats.org/officeDocument/2006/relationships/tags" Target="../tags/tag113.xml"/><Relationship Id="rId10" Type="http://schemas.openxmlformats.org/officeDocument/2006/relationships/tags" Target="../tags/tag118.xml"/><Relationship Id="rId4" Type="http://schemas.openxmlformats.org/officeDocument/2006/relationships/tags" Target="../tags/tag112.xml"/><Relationship Id="rId9" Type="http://schemas.openxmlformats.org/officeDocument/2006/relationships/tags" Target="../tags/tag117.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0.xml"/><Relationship Id="rId1" Type="http://schemas.openxmlformats.org/officeDocument/2006/relationships/tags" Target="../tags/tag119.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2.xml"/><Relationship Id="rId1" Type="http://schemas.openxmlformats.org/officeDocument/2006/relationships/tags" Target="../tags/tag121.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25.xml"/><Relationship Id="rId7" Type="http://schemas.openxmlformats.org/officeDocument/2006/relationships/oleObject" Target="../embeddings/oleObject22.bin"/><Relationship Id="rId2" Type="http://schemas.openxmlformats.org/officeDocument/2006/relationships/tags" Target="../tags/tag124.xml"/><Relationship Id="rId1" Type="http://schemas.openxmlformats.org/officeDocument/2006/relationships/tags" Target="../tags/tag123.xml"/><Relationship Id="rId6" Type="http://schemas.openxmlformats.org/officeDocument/2006/relationships/slideMaster" Target="../slideMasters/slideMaster1.xml"/><Relationship Id="rId5" Type="http://schemas.openxmlformats.org/officeDocument/2006/relationships/tags" Target="../tags/tag127.xml"/><Relationship Id="rId4" Type="http://schemas.openxmlformats.org/officeDocument/2006/relationships/tags" Target="../tags/tag126.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6.jpe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130.xml"/><Relationship Id="rId7" Type="http://schemas.openxmlformats.org/officeDocument/2006/relationships/slideMaster" Target="../slideMasters/slideMaster1.xml"/><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5" Type="http://schemas.openxmlformats.org/officeDocument/2006/relationships/tags" Target="../tags/tag132.xml"/><Relationship Id="rId4" Type="http://schemas.openxmlformats.org/officeDocument/2006/relationships/tags" Target="../tags/tag131.xml"/><Relationship Id="rId9"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141.xml"/><Relationship Id="rId3" Type="http://schemas.openxmlformats.org/officeDocument/2006/relationships/tags" Target="../tags/tag136.xml"/><Relationship Id="rId7" Type="http://schemas.openxmlformats.org/officeDocument/2006/relationships/tags" Target="../tags/tag140.xml"/><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tags" Target="../tags/tag139.xml"/><Relationship Id="rId11" Type="http://schemas.openxmlformats.org/officeDocument/2006/relationships/image" Target="../media/image1.emf"/><Relationship Id="rId5" Type="http://schemas.openxmlformats.org/officeDocument/2006/relationships/tags" Target="../tags/tag138.xml"/><Relationship Id="rId10" Type="http://schemas.openxmlformats.org/officeDocument/2006/relationships/oleObject" Target="../embeddings/oleObject24.bin"/><Relationship Id="rId4" Type="http://schemas.openxmlformats.org/officeDocument/2006/relationships/tags" Target="../tags/tag137.xml"/><Relationship Id="rId9"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149.xml"/><Relationship Id="rId13" Type="http://schemas.openxmlformats.org/officeDocument/2006/relationships/tags" Target="../tags/tag154.xml"/><Relationship Id="rId3" Type="http://schemas.openxmlformats.org/officeDocument/2006/relationships/tags" Target="../tags/tag144.xml"/><Relationship Id="rId7" Type="http://schemas.openxmlformats.org/officeDocument/2006/relationships/tags" Target="../tags/tag148.xml"/><Relationship Id="rId12" Type="http://schemas.openxmlformats.org/officeDocument/2006/relationships/tags" Target="../tags/tag153.xml"/><Relationship Id="rId17" Type="http://schemas.openxmlformats.org/officeDocument/2006/relationships/image" Target="../media/image1.emf"/><Relationship Id="rId2" Type="http://schemas.openxmlformats.org/officeDocument/2006/relationships/tags" Target="../tags/tag143.xml"/><Relationship Id="rId16" Type="http://schemas.openxmlformats.org/officeDocument/2006/relationships/oleObject" Target="../embeddings/oleObject25.bin"/><Relationship Id="rId1" Type="http://schemas.openxmlformats.org/officeDocument/2006/relationships/tags" Target="../tags/tag142.xml"/><Relationship Id="rId6" Type="http://schemas.openxmlformats.org/officeDocument/2006/relationships/tags" Target="../tags/tag147.xml"/><Relationship Id="rId11" Type="http://schemas.openxmlformats.org/officeDocument/2006/relationships/tags" Target="../tags/tag152.xml"/><Relationship Id="rId5" Type="http://schemas.openxmlformats.org/officeDocument/2006/relationships/tags" Target="../tags/tag146.xml"/><Relationship Id="rId15" Type="http://schemas.openxmlformats.org/officeDocument/2006/relationships/slideMaster" Target="../slideMasters/slideMaster1.xml"/><Relationship Id="rId10" Type="http://schemas.openxmlformats.org/officeDocument/2006/relationships/tags" Target="../tags/tag151.xml"/><Relationship Id="rId4" Type="http://schemas.openxmlformats.org/officeDocument/2006/relationships/tags" Target="../tags/tag145.xml"/><Relationship Id="rId9" Type="http://schemas.openxmlformats.org/officeDocument/2006/relationships/tags" Target="../tags/tag150.xml"/><Relationship Id="rId14" Type="http://schemas.openxmlformats.org/officeDocument/2006/relationships/tags" Target="../tags/tag155.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58.xml"/><Relationship Id="rId7" Type="http://schemas.openxmlformats.org/officeDocument/2006/relationships/oleObject" Target="../embeddings/oleObject26.bin"/><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slideMaster" Target="../slideMasters/slideMaster1.xml"/><Relationship Id="rId5" Type="http://schemas.openxmlformats.org/officeDocument/2006/relationships/tags" Target="../tags/tag160.xml"/><Relationship Id="rId4" Type="http://schemas.openxmlformats.org/officeDocument/2006/relationships/tags" Target="../tags/tag159.xml"/><Relationship Id="rId9" Type="http://schemas.openxmlformats.org/officeDocument/2006/relationships/image" Target="../media/image8.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3.jpe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3.jpe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0.xml"/><Relationship Id="rId7" Type="http://schemas.openxmlformats.org/officeDocument/2006/relationships/oleObject" Target="../embeddings/oleObject7.bin"/><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7.jpg"/><Relationship Id="rId5" Type="http://schemas.openxmlformats.org/officeDocument/2006/relationships/slideMaster" Target="../slideMasters/slideMaster1.xml"/><Relationship Id="rId4" Type="http://schemas.openxmlformats.org/officeDocument/2006/relationships/tags" Target="../tags/tag21.xml"/><Relationship Id="rId9" Type="http://schemas.openxmlformats.org/officeDocument/2006/relationships/image" Target="../media/image3.jpeg"/></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3.jpe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One">
    <p:bg>
      <p:bgPr>
        <a:solidFill>
          <a:schemeClr val="bg1"/>
        </a:solidFill>
        <a:effectLst/>
      </p:bgPr>
    </p:bg>
    <p:spTree>
      <p:nvGrpSpPr>
        <p:cNvPr id="1" name=""/>
        <p:cNvGrpSpPr/>
        <p:nvPr/>
      </p:nvGrpSpPr>
      <p:grpSpPr>
        <a:xfrm>
          <a:off x="0" y="0"/>
          <a:ext cx="0" cy="0"/>
          <a:chOff x="0" y="0"/>
          <a:chExt cx="0" cy="0"/>
        </a:xfrm>
      </p:grpSpPr>
      <p:pic>
        <p:nvPicPr>
          <p:cNvPr id="13" name="Picture Placeholder 10"/>
          <p:cNvPicPr>
            <a:picLocks noChangeAspect="1"/>
          </p:cNvPicPr>
          <p:nvPr userDrawn="1">
            <p:custDataLst>
              <p:tags r:id="rId1"/>
            </p:custDataLst>
          </p:nvPr>
        </p:nvPicPr>
        <p:blipFill rotWithShape="1">
          <a:blip r:embed="rId6" cstate="screen">
            <a:extLst>
              <a:ext uri="{28A0092B-C50C-407E-A947-70E740481C1C}">
                <a14:useLocalDpi xmlns:a14="http://schemas.microsoft.com/office/drawing/2010/main"/>
              </a:ext>
            </a:extLst>
          </a:blip>
          <a:srcRect l="19553" t="1223" r="35263"/>
          <a:stretch/>
        </p:blipFill>
        <p:spPr>
          <a:xfrm flipH="1">
            <a:off x="-4" y="1833564"/>
            <a:ext cx="7561263" cy="8859836"/>
          </a:xfrm>
          <a:prstGeom prst="rect">
            <a:avLst/>
          </a:prstGeom>
          <a:noFill/>
          <a:ln>
            <a:noFill/>
          </a:ln>
        </p:spPr>
      </p:pic>
      <p:sp>
        <p:nvSpPr>
          <p:cNvPr id="10" name="Freeform 295"/>
          <p:cNvSpPr>
            <a:spLocks/>
          </p:cNvSpPr>
          <p:nvPr userDrawn="1"/>
        </p:nvSpPr>
        <p:spPr bwMode="auto">
          <a:xfrm>
            <a:off x="0" y="1833564"/>
            <a:ext cx="5661025" cy="8858250"/>
          </a:xfrm>
          <a:custGeom>
            <a:avLst/>
            <a:gdLst>
              <a:gd name="T0" fmla="*/ 593 w 3566"/>
              <a:gd name="T1" fmla="*/ 5580 h 5580"/>
              <a:gd name="T2" fmla="*/ 3566 w 3566"/>
              <a:gd name="T3" fmla="*/ 0 h 5580"/>
              <a:gd name="T4" fmla="*/ 0 w 3566"/>
              <a:gd name="T5" fmla="*/ 0 h 5580"/>
              <a:gd name="T6" fmla="*/ 0 w 3566"/>
              <a:gd name="T7" fmla="*/ 5580 h 5580"/>
              <a:gd name="T8" fmla="*/ 593 w 3566"/>
              <a:gd name="T9" fmla="*/ 5580 h 5580"/>
            </a:gdLst>
            <a:ahLst/>
            <a:cxnLst>
              <a:cxn ang="0">
                <a:pos x="T0" y="T1"/>
              </a:cxn>
              <a:cxn ang="0">
                <a:pos x="T2" y="T3"/>
              </a:cxn>
              <a:cxn ang="0">
                <a:pos x="T4" y="T5"/>
              </a:cxn>
              <a:cxn ang="0">
                <a:pos x="T6" y="T7"/>
              </a:cxn>
              <a:cxn ang="0">
                <a:pos x="T8" y="T9"/>
              </a:cxn>
            </a:cxnLst>
            <a:rect l="0" t="0" r="r" b="b"/>
            <a:pathLst>
              <a:path w="3566" h="5580">
                <a:moveTo>
                  <a:pt x="593" y="5580"/>
                </a:moveTo>
                <a:lnTo>
                  <a:pt x="3566" y="0"/>
                </a:lnTo>
                <a:lnTo>
                  <a:pt x="0" y="0"/>
                </a:lnTo>
                <a:lnTo>
                  <a:pt x="0" y="5580"/>
                </a:lnTo>
                <a:lnTo>
                  <a:pt x="593" y="5580"/>
                </a:lnTo>
                <a:close/>
              </a:path>
            </a:pathLst>
          </a:custGeom>
          <a:solidFill>
            <a:srgbClr val="E30C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aphicFrame>
        <p:nvGraphicFramePr>
          <p:cNvPr id="5" name="Object 4" hidden="1"/>
          <p:cNvGraphicFramePr>
            <a:graphicFrameLocks/>
          </p:cNvGraphicFramePr>
          <p:nvPr userDrawn="1">
            <p:custDataLst>
              <p:tags r:id="rId2"/>
            </p:custDataLst>
            <p:extLst>
              <p:ext uri="{D42A27DB-BD31-4B8C-83A1-F6EECF244321}">
                <p14:modId xmlns:p14="http://schemas.microsoft.com/office/powerpoint/2010/main" val="2256750319"/>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5" name="Object 4" hidden="1"/>
                      <p:cNvPicPr/>
                      <p:nvPr/>
                    </p:nvPicPr>
                    <p:blipFill>
                      <a:blip r:embed="rId8"/>
                      <a:stretch>
                        <a:fillRect/>
                      </a:stretch>
                    </p:blipFill>
                    <p:spPr>
                      <a:xfrm>
                        <a:off x="0" y="0"/>
                        <a:ext cx="112252" cy="224510"/>
                      </a:xfrm>
                      <a:prstGeom prst="rect">
                        <a:avLst/>
                      </a:prstGeom>
                    </p:spPr>
                  </p:pic>
                </p:oleObj>
              </mc:Fallback>
            </mc:AlternateContent>
          </a:graphicData>
        </a:graphic>
      </p:graphicFrame>
      <p:sp>
        <p:nvSpPr>
          <p:cNvPr id="14" name="Text Placeholder 13"/>
          <p:cNvSpPr>
            <a:spLocks noGrp="1"/>
          </p:cNvSpPr>
          <p:nvPr>
            <p:ph type="body" sz="quarter" idx="11" hasCustomPrompt="1"/>
            <p:custDataLst>
              <p:tags r:id="rId3"/>
            </p:custDataLst>
          </p:nvPr>
        </p:nvSpPr>
        <p:spPr>
          <a:xfrm>
            <a:off x="687102" y="2342731"/>
            <a:ext cx="4037013" cy="2175980"/>
          </a:xfrm>
          <a:prstGeom prst="rect">
            <a:avLst/>
          </a:prstGeom>
          <a:noFill/>
        </p:spPr>
        <p:txBody>
          <a:bodyPr/>
          <a:lstStyle>
            <a:lvl1pPr>
              <a:lnSpc>
                <a:spcPct val="100000"/>
              </a:lnSpc>
              <a:spcAft>
                <a:spcPts val="600"/>
              </a:spcAft>
              <a:defRPr sz="3200" b="0" baseline="0">
                <a:solidFill>
                  <a:schemeClr val="bg1"/>
                </a:solidFill>
              </a:defRPr>
            </a:lvl1pPr>
            <a:lvl2pPr>
              <a:spcBef>
                <a:spcPts val="0"/>
              </a:spcBef>
              <a:spcAft>
                <a:spcPts val="3600"/>
              </a:spcAft>
              <a:defRPr sz="1200" b="1" baseline="0">
                <a:solidFill>
                  <a:schemeClr val="bg1"/>
                </a:solidFill>
              </a:defRPr>
            </a:lvl2pPr>
            <a:lvl3pPr marL="0" indent="0">
              <a:buNone/>
              <a:defRPr sz="1000" b="0">
                <a:solidFill>
                  <a:schemeClr val="bg1"/>
                </a:solidFill>
              </a:defRPr>
            </a:lvl3pPr>
            <a:lvl4pPr marL="0" indent="0">
              <a:buNone/>
              <a:defRPr sz="1200" b="1" baseline="0">
                <a:solidFill>
                  <a:schemeClr val="bg1"/>
                </a:solidFill>
              </a:defRPr>
            </a:lvl4pPr>
            <a:lvl5pPr>
              <a:defRPr>
                <a:solidFill>
                  <a:schemeClr val="bg1"/>
                </a:solidFill>
              </a:defRPr>
            </a:lvl5pPr>
          </a:lstStyle>
          <a:p>
            <a:pPr lvl="0"/>
            <a:r>
              <a:rPr lang="en-US" dirty="0"/>
              <a:t>Presentation title here</a:t>
            </a:r>
          </a:p>
          <a:p>
            <a:pPr lvl="1"/>
            <a:r>
              <a:rPr lang="en-US" dirty="0"/>
              <a:t>Optional date</a:t>
            </a:r>
          </a:p>
          <a:p>
            <a:pPr lvl="2"/>
            <a:r>
              <a:rPr lang="en-US" dirty="0"/>
              <a:t>Prepared for</a:t>
            </a:r>
          </a:p>
          <a:p>
            <a:pPr lvl="3"/>
            <a:r>
              <a:rPr lang="en-US" dirty="0"/>
              <a:t>Client/Company name</a:t>
            </a:r>
            <a:endParaRPr lang="en-NZ" dirty="0"/>
          </a:p>
        </p:txBody>
      </p:sp>
      <p:sp>
        <p:nvSpPr>
          <p:cNvPr id="56" name="Picture Placeholder 14"/>
          <p:cNvSpPr>
            <a:spLocks noGrp="1"/>
          </p:cNvSpPr>
          <p:nvPr>
            <p:ph type="pic" sz="quarter" idx="10" hasCustomPrompt="1"/>
            <p:custDataLst>
              <p:tags r:id="rId4"/>
            </p:custDataLst>
          </p:nvPr>
        </p:nvSpPr>
        <p:spPr>
          <a:xfrm>
            <a:off x="5393282" y="535116"/>
            <a:ext cx="1515396" cy="763333"/>
          </a:xfrm>
          <a:prstGeom prst="rect">
            <a:avLst/>
          </a:prstGeom>
        </p:spPr>
        <p:txBody>
          <a:bodyPr anchor="ctr" anchorCtr="1">
            <a:noAutofit/>
          </a:bodyPr>
          <a:lstStyle>
            <a:lvl1pPr>
              <a:defRPr>
                <a:solidFill>
                  <a:schemeClr val="tx1"/>
                </a:solidFill>
              </a:defRPr>
            </a:lvl1pPr>
          </a:lstStyle>
          <a:p>
            <a:r>
              <a:rPr lang="en-GB" dirty="0"/>
              <a:t>Client logo</a:t>
            </a:r>
          </a:p>
        </p:txBody>
      </p:sp>
      <p:pic>
        <p:nvPicPr>
          <p:cNvPr id="9" name="Picture 8"/>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716919" y="553713"/>
            <a:ext cx="2165429" cy="595779"/>
          </a:xfrm>
          <a:prstGeom prst="rect">
            <a:avLst/>
          </a:prstGeom>
        </p:spPr>
      </p:pic>
    </p:spTree>
    <p:extLst>
      <p:ext uri="{BB962C8B-B14F-4D97-AF65-F5344CB8AC3E}">
        <p14:creationId xmlns:p14="http://schemas.microsoft.com/office/powerpoint/2010/main" val="2385474996"/>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wo Column with Image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172159081"/>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6" name="Object 5" hidden="1"/>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20" name="Picture Placeholder 11"/>
          <p:cNvSpPr>
            <a:spLocks noGrp="1"/>
          </p:cNvSpPr>
          <p:nvPr>
            <p:ph type="pic" sz="quarter" idx="15"/>
            <p:custDataLst>
              <p:tags r:id="rId2"/>
            </p:custDataLst>
          </p:nvPr>
        </p:nvSpPr>
        <p:spPr>
          <a:xfrm>
            <a:off x="-17003" y="8414993"/>
            <a:ext cx="4217309" cy="2286027"/>
          </a:xfrm>
          <a:custGeom>
            <a:avLst/>
            <a:gdLst>
              <a:gd name="connsiteX0" fmla="*/ 0 w 5581650"/>
              <a:gd name="connsiteY0" fmla="*/ 0 h 1936750"/>
              <a:gd name="connsiteX1" fmla="*/ 5581650 w 5581650"/>
              <a:gd name="connsiteY1" fmla="*/ 0 h 1936750"/>
              <a:gd name="connsiteX2" fmla="*/ 5581650 w 5581650"/>
              <a:gd name="connsiteY2" fmla="*/ 1936750 h 1936750"/>
              <a:gd name="connsiteX3" fmla="*/ 0 w 5581650"/>
              <a:gd name="connsiteY3" fmla="*/ 1936750 h 1936750"/>
              <a:gd name="connsiteX4" fmla="*/ 0 w 5581650"/>
              <a:gd name="connsiteY4" fmla="*/ 0 h 1936750"/>
              <a:gd name="connsiteX0" fmla="*/ 0 w 5581650"/>
              <a:gd name="connsiteY0" fmla="*/ 0 h 1936750"/>
              <a:gd name="connsiteX1" fmla="*/ 5581650 w 5581650"/>
              <a:gd name="connsiteY1" fmla="*/ 0 h 1936750"/>
              <a:gd name="connsiteX2" fmla="*/ 4562476 w 5581650"/>
              <a:gd name="connsiteY2" fmla="*/ 1936750 h 1936750"/>
              <a:gd name="connsiteX3" fmla="*/ 0 w 5581650"/>
              <a:gd name="connsiteY3" fmla="*/ 1936750 h 1936750"/>
              <a:gd name="connsiteX4" fmla="*/ 0 w 5581650"/>
              <a:gd name="connsiteY4" fmla="*/ 0 h 1936750"/>
              <a:gd name="connsiteX0" fmla="*/ 161925 w 5581650"/>
              <a:gd name="connsiteY0" fmla="*/ 0 h 1936750"/>
              <a:gd name="connsiteX1" fmla="*/ 5581650 w 5581650"/>
              <a:gd name="connsiteY1" fmla="*/ 0 h 1936750"/>
              <a:gd name="connsiteX2" fmla="*/ 4562476 w 5581650"/>
              <a:gd name="connsiteY2" fmla="*/ 1936750 h 1936750"/>
              <a:gd name="connsiteX3" fmla="*/ 0 w 5581650"/>
              <a:gd name="connsiteY3" fmla="*/ 1936750 h 1936750"/>
              <a:gd name="connsiteX4" fmla="*/ 161925 w 5581650"/>
              <a:gd name="connsiteY4" fmla="*/ 0 h 1936750"/>
              <a:gd name="connsiteX0" fmla="*/ 0 w 5419725"/>
              <a:gd name="connsiteY0" fmla="*/ 0 h 1936751"/>
              <a:gd name="connsiteX1" fmla="*/ 5419725 w 5419725"/>
              <a:gd name="connsiteY1" fmla="*/ 0 h 1936751"/>
              <a:gd name="connsiteX2" fmla="*/ 4400551 w 5419725"/>
              <a:gd name="connsiteY2" fmla="*/ 1936750 h 1936751"/>
              <a:gd name="connsiteX3" fmla="*/ 0 w 5419725"/>
              <a:gd name="connsiteY3" fmla="*/ 1936751 h 1936751"/>
              <a:gd name="connsiteX4" fmla="*/ 0 w 5419725"/>
              <a:gd name="connsiteY4" fmla="*/ 0 h 1936751"/>
              <a:gd name="connsiteX0" fmla="*/ 838200 w 5419725"/>
              <a:gd name="connsiteY0" fmla="*/ 0 h 1936751"/>
              <a:gd name="connsiteX1" fmla="*/ 5419725 w 5419725"/>
              <a:gd name="connsiteY1" fmla="*/ 0 h 1936751"/>
              <a:gd name="connsiteX2" fmla="*/ 4400551 w 5419725"/>
              <a:gd name="connsiteY2" fmla="*/ 1936750 h 1936751"/>
              <a:gd name="connsiteX3" fmla="*/ 0 w 5419725"/>
              <a:gd name="connsiteY3" fmla="*/ 1936751 h 1936751"/>
              <a:gd name="connsiteX4" fmla="*/ 838200 w 5419725"/>
              <a:gd name="connsiteY4" fmla="*/ 0 h 1936751"/>
              <a:gd name="connsiteX0" fmla="*/ 0 w 4581525"/>
              <a:gd name="connsiteY0" fmla="*/ 0 h 1936750"/>
              <a:gd name="connsiteX1" fmla="*/ 4581525 w 4581525"/>
              <a:gd name="connsiteY1" fmla="*/ 0 h 1936750"/>
              <a:gd name="connsiteX2" fmla="*/ 3562351 w 4581525"/>
              <a:gd name="connsiteY2" fmla="*/ 1936750 h 1936750"/>
              <a:gd name="connsiteX3" fmla="*/ 0 w 4581525"/>
              <a:gd name="connsiteY3" fmla="*/ 1936750 h 1936750"/>
              <a:gd name="connsiteX4" fmla="*/ 0 w 4581525"/>
              <a:gd name="connsiteY4" fmla="*/ 0 h 1936750"/>
              <a:gd name="connsiteX0" fmla="*/ 0 w 4581525"/>
              <a:gd name="connsiteY0" fmla="*/ 0 h 1936750"/>
              <a:gd name="connsiteX1" fmla="*/ 4581525 w 4581525"/>
              <a:gd name="connsiteY1" fmla="*/ 0 h 1936750"/>
              <a:gd name="connsiteX2" fmla="*/ 3562351 w 4581525"/>
              <a:gd name="connsiteY2" fmla="*/ 1936750 h 1936750"/>
              <a:gd name="connsiteX3" fmla="*/ 0 w 4581525"/>
              <a:gd name="connsiteY3" fmla="*/ 1936750 h 1936750"/>
              <a:gd name="connsiteX4" fmla="*/ 0 w 4581525"/>
              <a:gd name="connsiteY4" fmla="*/ 0 h 1936750"/>
              <a:gd name="connsiteX0" fmla="*/ 0 w 4581525"/>
              <a:gd name="connsiteY0" fmla="*/ 0 h 1936750"/>
              <a:gd name="connsiteX1" fmla="*/ 4581525 w 4581525"/>
              <a:gd name="connsiteY1" fmla="*/ 0 h 1936750"/>
              <a:gd name="connsiteX2" fmla="*/ 2695575 w 4581525"/>
              <a:gd name="connsiteY2" fmla="*/ 1936750 h 1936750"/>
              <a:gd name="connsiteX3" fmla="*/ 0 w 4581525"/>
              <a:gd name="connsiteY3" fmla="*/ 1936750 h 1936750"/>
              <a:gd name="connsiteX4" fmla="*/ 0 w 4581525"/>
              <a:gd name="connsiteY4" fmla="*/ 0 h 1936750"/>
              <a:gd name="connsiteX0" fmla="*/ 0 w 4581525"/>
              <a:gd name="connsiteY0" fmla="*/ 0 h 1936750"/>
              <a:gd name="connsiteX1" fmla="*/ 4581525 w 4581525"/>
              <a:gd name="connsiteY1" fmla="*/ 0 h 1936750"/>
              <a:gd name="connsiteX2" fmla="*/ 3543300 w 4581525"/>
              <a:gd name="connsiteY2" fmla="*/ 1936750 h 1936750"/>
              <a:gd name="connsiteX3" fmla="*/ 0 w 4581525"/>
              <a:gd name="connsiteY3" fmla="*/ 1936750 h 1936750"/>
              <a:gd name="connsiteX4" fmla="*/ 0 w 4581525"/>
              <a:gd name="connsiteY4" fmla="*/ 0 h 1936750"/>
              <a:gd name="connsiteX0" fmla="*/ 0 w 5353050"/>
              <a:gd name="connsiteY0" fmla="*/ 0 h 1936750"/>
              <a:gd name="connsiteX1" fmla="*/ 5353050 w 5353050"/>
              <a:gd name="connsiteY1" fmla="*/ 0 h 1936750"/>
              <a:gd name="connsiteX2" fmla="*/ 4314825 w 5353050"/>
              <a:gd name="connsiteY2" fmla="*/ 1936750 h 1936750"/>
              <a:gd name="connsiteX3" fmla="*/ 771525 w 5353050"/>
              <a:gd name="connsiteY3" fmla="*/ 1936750 h 1936750"/>
              <a:gd name="connsiteX4" fmla="*/ 0 w 5353050"/>
              <a:gd name="connsiteY4" fmla="*/ 0 h 1936750"/>
              <a:gd name="connsiteX0" fmla="*/ 0 w 5353050"/>
              <a:gd name="connsiteY0" fmla="*/ 0 h 1936750"/>
              <a:gd name="connsiteX1" fmla="*/ 5353050 w 5353050"/>
              <a:gd name="connsiteY1" fmla="*/ 0 h 1936750"/>
              <a:gd name="connsiteX2" fmla="*/ 4314825 w 5353050"/>
              <a:gd name="connsiteY2" fmla="*/ 1936750 h 1936750"/>
              <a:gd name="connsiteX3" fmla="*/ 0 w 5353050"/>
              <a:gd name="connsiteY3" fmla="*/ 1936750 h 1936750"/>
              <a:gd name="connsiteX4" fmla="*/ 0 w 5353050"/>
              <a:gd name="connsiteY4" fmla="*/ 0 h 1936750"/>
              <a:gd name="connsiteX0" fmla="*/ 0 w 5391150"/>
              <a:gd name="connsiteY0" fmla="*/ 0 h 1936750"/>
              <a:gd name="connsiteX1" fmla="*/ 5391150 w 5391150"/>
              <a:gd name="connsiteY1" fmla="*/ 0 h 1936750"/>
              <a:gd name="connsiteX2" fmla="*/ 4352925 w 5391150"/>
              <a:gd name="connsiteY2" fmla="*/ 1936750 h 1936750"/>
              <a:gd name="connsiteX3" fmla="*/ 38100 w 5391150"/>
              <a:gd name="connsiteY3" fmla="*/ 1936750 h 1936750"/>
              <a:gd name="connsiteX4" fmla="*/ 0 w 5391150"/>
              <a:gd name="connsiteY4" fmla="*/ 0 h 1936750"/>
              <a:gd name="connsiteX0" fmla="*/ 0 w 5391150"/>
              <a:gd name="connsiteY0" fmla="*/ 0 h 1936750"/>
              <a:gd name="connsiteX1" fmla="*/ 5391150 w 5391150"/>
              <a:gd name="connsiteY1" fmla="*/ 0 h 1936750"/>
              <a:gd name="connsiteX2" fmla="*/ 4352925 w 5391150"/>
              <a:gd name="connsiteY2" fmla="*/ 1936750 h 1936750"/>
              <a:gd name="connsiteX3" fmla="*/ 0 w 5391150"/>
              <a:gd name="connsiteY3" fmla="*/ 1936750 h 1936750"/>
              <a:gd name="connsiteX4" fmla="*/ 0 w 5391150"/>
              <a:gd name="connsiteY4" fmla="*/ 0 h 1936750"/>
              <a:gd name="connsiteX0" fmla="*/ 1811218 w 5391150"/>
              <a:gd name="connsiteY0" fmla="*/ 0 h 1943242"/>
              <a:gd name="connsiteX1" fmla="*/ 5391150 w 5391150"/>
              <a:gd name="connsiteY1" fmla="*/ 6492 h 1943242"/>
              <a:gd name="connsiteX2" fmla="*/ 4352925 w 5391150"/>
              <a:gd name="connsiteY2" fmla="*/ 1943242 h 1943242"/>
              <a:gd name="connsiteX3" fmla="*/ 0 w 5391150"/>
              <a:gd name="connsiteY3" fmla="*/ 1943242 h 1943242"/>
              <a:gd name="connsiteX4" fmla="*/ 1811218 w 5391150"/>
              <a:gd name="connsiteY4" fmla="*/ 0 h 1943242"/>
              <a:gd name="connsiteX0" fmla="*/ 0 w 3579932"/>
              <a:gd name="connsiteY0" fmla="*/ 0 h 1943242"/>
              <a:gd name="connsiteX1" fmla="*/ 3579932 w 3579932"/>
              <a:gd name="connsiteY1" fmla="*/ 6492 h 1943242"/>
              <a:gd name="connsiteX2" fmla="*/ 2541707 w 3579932"/>
              <a:gd name="connsiteY2" fmla="*/ 1943242 h 1943242"/>
              <a:gd name="connsiteX3" fmla="*/ 1090626 w 3579932"/>
              <a:gd name="connsiteY3" fmla="*/ 917534 h 1943242"/>
              <a:gd name="connsiteX4" fmla="*/ 0 w 3579932"/>
              <a:gd name="connsiteY4" fmla="*/ 0 h 1943242"/>
              <a:gd name="connsiteX0" fmla="*/ 12984 w 3592916"/>
              <a:gd name="connsiteY0" fmla="*/ 0 h 1949734"/>
              <a:gd name="connsiteX1" fmla="*/ 3592916 w 3592916"/>
              <a:gd name="connsiteY1" fmla="*/ 6492 h 1949734"/>
              <a:gd name="connsiteX2" fmla="*/ 2554691 w 3592916"/>
              <a:gd name="connsiteY2" fmla="*/ 1943242 h 1949734"/>
              <a:gd name="connsiteX3" fmla="*/ 0 w 3592916"/>
              <a:gd name="connsiteY3" fmla="*/ 1949734 h 1949734"/>
              <a:gd name="connsiteX4" fmla="*/ 12984 w 3592916"/>
              <a:gd name="connsiteY4" fmla="*/ 0 h 1949734"/>
              <a:gd name="connsiteX0" fmla="*/ 0 w 3599408"/>
              <a:gd name="connsiteY0" fmla="*/ 6492 h 1943242"/>
              <a:gd name="connsiteX1" fmla="*/ 3599408 w 3599408"/>
              <a:gd name="connsiteY1" fmla="*/ 0 h 1943242"/>
              <a:gd name="connsiteX2" fmla="*/ 2561183 w 3599408"/>
              <a:gd name="connsiteY2" fmla="*/ 1936750 h 1943242"/>
              <a:gd name="connsiteX3" fmla="*/ 6492 w 3599408"/>
              <a:gd name="connsiteY3" fmla="*/ 1943242 h 1943242"/>
              <a:gd name="connsiteX4" fmla="*/ 0 w 3599408"/>
              <a:gd name="connsiteY4" fmla="*/ 6492 h 1943242"/>
              <a:gd name="connsiteX0" fmla="*/ 9738 w 3592916"/>
              <a:gd name="connsiteY0" fmla="*/ 0 h 1947570"/>
              <a:gd name="connsiteX1" fmla="*/ 3592916 w 3592916"/>
              <a:gd name="connsiteY1" fmla="*/ 4328 h 1947570"/>
              <a:gd name="connsiteX2" fmla="*/ 2554691 w 3592916"/>
              <a:gd name="connsiteY2" fmla="*/ 1941078 h 1947570"/>
              <a:gd name="connsiteX3" fmla="*/ 0 w 3592916"/>
              <a:gd name="connsiteY3" fmla="*/ 1947570 h 1947570"/>
              <a:gd name="connsiteX4" fmla="*/ 9738 w 3592916"/>
              <a:gd name="connsiteY4" fmla="*/ 0 h 19475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92916" h="1947570">
                <a:moveTo>
                  <a:pt x="9738" y="0"/>
                </a:moveTo>
                <a:lnTo>
                  <a:pt x="3592916" y="4328"/>
                </a:lnTo>
                <a:lnTo>
                  <a:pt x="2554691" y="1941078"/>
                </a:lnTo>
                <a:lnTo>
                  <a:pt x="0" y="1947570"/>
                </a:lnTo>
                <a:lnTo>
                  <a:pt x="9738" y="0"/>
                </a:lnTo>
                <a:close/>
              </a:path>
            </a:pathLst>
          </a:custGeom>
          <a:solidFill>
            <a:schemeClr val="bg1">
              <a:lumMod val="95000"/>
            </a:schemeClr>
          </a:solidFill>
        </p:spPr>
        <p:txBody>
          <a:bodyPr anchor="ctr">
            <a:noAutofit/>
          </a:bodyPr>
          <a:lstStyle>
            <a:lvl1pPr algn="ctr">
              <a:defRPr>
                <a:solidFill>
                  <a:schemeClr val="tx1"/>
                </a:solidFill>
              </a:defRPr>
            </a:lvl1pPr>
          </a:lstStyle>
          <a:p>
            <a:r>
              <a:rPr lang="en-US" dirty="0"/>
              <a:t>Click icon to add picture</a:t>
            </a:r>
          </a:p>
        </p:txBody>
      </p:sp>
      <p:sp>
        <p:nvSpPr>
          <p:cNvPr id="19" name="Picture Placeholder 10"/>
          <p:cNvSpPr>
            <a:spLocks noGrp="1"/>
          </p:cNvSpPr>
          <p:nvPr>
            <p:ph type="pic" sz="quarter" idx="14"/>
            <p:custDataLst>
              <p:tags r:id="rId3"/>
            </p:custDataLst>
          </p:nvPr>
        </p:nvSpPr>
        <p:spPr>
          <a:xfrm>
            <a:off x="3143169" y="8414993"/>
            <a:ext cx="4420779" cy="2284438"/>
          </a:xfrm>
          <a:custGeom>
            <a:avLst/>
            <a:gdLst>
              <a:gd name="connsiteX0" fmla="*/ 0 w 4724400"/>
              <a:gd name="connsiteY0" fmla="*/ 0 h 3352800"/>
              <a:gd name="connsiteX1" fmla="*/ 4724400 w 4724400"/>
              <a:gd name="connsiteY1" fmla="*/ 0 h 3352800"/>
              <a:gd name="connsiteX2" fmla="*/ 4724400 w 4724400"/>
              <a:gd name="connsiteY2" fmla="*/ 3352800 h 3352800"/>
              <a:gd name="connsiteX3" fmla="*/ 0 w 4724400"/>
              <a:gd name="connsiteY3" fmla="*/ 3352800 h 3352800"/>
              <a:gd name="connsiteX4" fmla="*/ 0 w 4724400"/>
              <a:gd name="connsiteY4" fmla="*/ 0 h 3352800"/>
              <a:gd name="connsiteX0" fmla="*/ 1781175 w 4724400"/>
              <a:gd name="connsiteY0" fmla="*/ 7938 h 3352800"/>
              <a:gd name="connsiteX1" fmla="*/ 4724400 w 4724400"/>
              <a:gd name="connsiteY1" fmla="*/ 0 h 3352800"/>
              <a:gd name="connsiteX2" fmla="*/ 4724400 w 4724400"/>
              <a:gd name="connsiteY2" fmla="*/ 3352800 h 3352800"/>
              <a:gd name="connsiteX3" fmla="*/ 0 w 4724400"/>
              <a:gd name="connsiteY3" fmla="*/ 3352800 h 3352800"/>
              <a:gd name="connsiteX4" fmla="*/ 1781175 w 4724400"/>
              <a:gd name="connsiteY4" fmla="*/ 7938 h 3352800"/>
              <a:gd name="connsiteX0" fmla="*/ 1781175 w 4962524"/>
              <a:gd name="connsiteY0" fmla="*/ 0 h 3344862"/>
              <a:gd name="connsiteX1" fmla="*/ 4962524 w 4962524"/>
              <a:gd name="connsiteY1" fmla="*/ 0 h 3344862"/>
              <a:gd name="connsiteX2" fmla="*/ 4724400 w 4962524"/>
              <a:gd name="connsiteY2" fmla="*/ 3344862 h 3344862"/>
              <a:gd name="connsiteX3" fmla="*/ 0 w 4962524"/>
              <a:gd name="connsiteY3" fmla="*/ 3344862 h 3344862"/>
              <a:gd name="connsiteX4" fmla="*/ 1781175 w 4962524"/>
              <a:gd name="connsiteY4" fmla="*/ 0 h 3344862"/>
              <a:gd name="connsiteX0" fmla="*/ 1781175 w 4962524"/>
              <a:gd name="connsiteY0" fmla="*/ 0 h 3354387"/>
              <a:gd name="connsiteX1" fmla="*/ 4962524 w 4962524"/>
              <a:gd name="connsiteY1" fmla="*/ 0 h 3354387"/>
              <a:gd name="connsiteX2" fmla="*/ 4962524 w 4962524"/>
              <a:gd name="connsiteY2" fmla="*/ 3354387 h 3354387"/>
              <a:gd name="connsiteX3" fmla="*/ 0 w 4962524"/>
              <a:gd name="connsiteY3" fmla="*/ 3344862 h 3354387"/>
              <a:gd name="connsiteX4" fmla="*/ 1781175 w 4962524"/>
              <a:gd name="connsiteY4" fmla="*/ 0 h 3354387"/>
              <a:gd name="connsiteX0" fmla="*/ 1781175 w 4972049"/>
              <a:gd name="connsiteY0" fmla="*/ 0 h 3344862"/>
              <a:gd name="connsiteX1" fmla="*/ 4962524 w 4972049"/>
              <a:gd name="connsiteY1" fmla="*/ 0 h 3344862"/>
              <a:gd name="connsiteX2" fmla="*/ 4972049 w 4972049"/>
              <a:gd name="connsiteY2" fmla="*/ 3344862 h 3344862"/>
              <a:gd name="connsiteX3" fmla="*/ 0 w 4972049"/>
              <a:gd name="connsiteY3" fmla="*/ 3344862 h 3344862"/>
              <a:gd name="connsiteX4" fmla="*/ 1781175 w 4972049"/>
              <a:gd name="connsiteY4" fmla="*/ 0 h 3344862"/>
              <a:gd name="connsiteX0" fmla="*/ 2619375 w 4972049"/>
              <a:gd name="connsiteY0" fmla="*/ 0 h 4913313"/>
              <a:gd name="connsiteX1" fmla="*/ 4962524 w 4972049"/>
              <a:gd name="connsiteY1" fmla="*/ 1568451 h 4913313"/>
              <a:gd name="connsiteX2" fmla="*/ 4972049 w 4972049"/>
              <a:gd name="connsiteY2" fmla="*/ 4913313 h 4913313"/>
              <a:gd name="connsiteX3" fmla="*/ 0 w 4972049"/>
              <a:gd name="connsiteY3" fmla="*/ 4913313 h 4913313"/>
              <a:gd name="connsiteX4" fmla="*/ 2619375 w 4972049"/>
              <a:gd name="connsiteY4" fmla="*/ 0 h 4913313"/>
              <a:gd name="connsiteX0" fmla="*/ 2619375 w 4972049"/>
              <a:gd name="connsiteY0" fmla="*/ 0 h 4913313"/>
              <a:gd name="connsiteX1" fmla="*/ 4972049 w 4972049"/>
              <a:gd name="connsiteY1" fmla="*/ 2 h 4913313"/>
              <a:gd name="connsiteX2" fmla="*/ 4972049 w 4972049"/>
              <a:gd name="connsiteY2" fmla="*/ 4913313 h 4913313"/>
              <a:gd name="connsiteX3" fmla="*/ 0 w 4972049"/>
              <a:gd name="connsiteY3" fmla="*/ 4913313 h 4913313"/>
              <a:gd name="connsiteX4" fmla="*/ 2619375 w 4972049"/>
              <a:gd name="connsiteY4" fmla="*/ 0 h 4913313"/>
              <a:gd name="connsiteX0" fmla="*/ 2619375 w 5143499"/>
              <a:gd name="connsiteY0" fmla="*/ 0 h 4913313"/>
              <a:gd name="connsiteX1" fmla="*/ 5143499 w 5143499"/>
              <a:gd name="connsiteY1" fmla="*/ 0 h 4913313"/>
              <a:gd name="connsiteX2" fmla="*/ 4972049 w 5143499"/>
              <a:gd name="connsiteY2" fmla="*/ 4913313 h 4913313"/>
              <a:gd name="connsiteX3" fmla="*/ 0 w 5143499"/>
              <a:gd name="connsiteY3" fmla="*/ 4913313 h 4913313"/>
              <a:gd name="connsiteX4" fmla="*/ 2619375 w 5143499"/>
              <a:gd name="connsiteY4" fmla="*/ 0 h 4913313"/>
              <a:gd name="connsiteX0" fmla="*/ 2619375 w 5143499"/>
              <a:gd name="connsiteY0" fmla="*/ 0 h 4913314"/>
              <a:gd name="connsiteX1" fmla="*/ 5143499 w 5143499"/>
              <a:gd name="connsiteY1" fmla="*/ 0 h 4913314"/>
              <a:gd name="connsiteX2" fmla="*/ 5143499 w 5143499"/>
              <a:gd name="connsiteY2" fmla="*/ 4913314 h 4913314"/>
              <a:gd name="connsiteX3" fmla="*/ 0 w 5143499"/>
              <a:gd name="connsiteY3" fmla="*/ 4913313 h 4913314"/>
              <a:gd name="connsiteX4" fmla="*/ 2619375 w 5143499"/>
              <a:gd name="connsiteY4" fmla="*/ 0 h 4913314"/>
              <a:gd name="connsiteX0" fmla="*/ 1820862 w 5143499"/>
              <a:gd name="connsiteY0" fmla="*/ 1482726 h 4913314"/>
              <a:gd name="connsiteX1" fmla="*/ 5143499 w 5143499"/>
              <a:gd name="connsiteY1" fmla="*/ 0 h 4913314"/>
              <a:gd name="connsiteX2" fmla="*/ 5143499 w 5143499"/>
              <a:gd name="connsiteY2" fmla="*/ 4913314 h 4913314"/>
              <a:gd name="connsiteX3" fmla="*/ 0 w 5143499"/>
              <a:gd name="connsiteY3" fmla="*/ 4913313 h 4913314"/>
              <a:gd name="connsiteX4" fmla="*/ 1820862 w 5143499"/>
              <a:gd name="connsiteY4" fmla="*/ 1482726 h 4913314"/>
              <a:gd name="connsiteX0" fmla="*/ 1820862 w 5143499"/>
              <a:gd name="connsiteY0" fmla="*/ 0 h 3430588"/>
              <a:gd name="connsiteX1" fmla="*/ 5143499 w 5143499"/>
              <a:gd name="connsiteY1" fmla="*/ 0 h 3430588"/>
              <a:gd name="connsiteX2" fmla="*/ 5143499 w 5143499"/>
              <a:gd name="connsiteY2" fmla="*/ 3430588 h 3430588"/>
              <a:gd name="connsiteX3" fmla="*/ 0 w 5143499"/>
              <a:gd name="connsiteY3" fmla="*/ 3430587 h 3430588"/>
              <a:gd name="connsiteX4" fmla="*/ 1820862 w 5143499"/>
              <a:gd name="connsiteY4" fmla="*/ 0 h 3430588"/>
              <a:gd name="connsiteX0" fmla="*/ 1030287 w 5143499"/>
              <a:gd name="connsiteY0" fmla="*/ 1493837 h 3430588"/>
              <a:gd name="connsiteX1" fmla="*/ 5143499 w 5143499"/>
              <a:gd name="connsiteY1" fmla="*/ 0 h 3430588"/>
              <a:gd name="connsiteX2" fmla="*/ 5143499 w 5143499"/>
              <a:gd name="connsiteY2" fmla="*/ 3430588 h 3430588"/>
              <a:gd name="connsiteX3" fmla="*/ 0 w 5143499"/>
              <a:gd name="connsiteY3" fmla="*/ 3430587 h 3430588"/>
              <a:gd name="connsiteX4" fmla="*/ 1030287 w 5143499"/>
              <a:gd name="connsiteY4" fmla="*/ 1493837 h 3430588"/>
              <a:gd name="connsiteX0" fmla="*/ 1030287 w 5143499"/>
              <a:gd name="connsiteY0" fmla="*/ 0 h 1936751"/>
              <a:gd name="connsiteX1" fmla="*/ 5143499 w 5143499"/>
              <a:gd name="connsiteY1" fmla="*/ 0 h 1936751"/>
              <a:gd name="connsiteX2" fmla="*/ 5143499 w 5143499"/>
              <a:gd name="connsiteY2" fmla="*/ 1936751 h 1936751"/>
              <a:gd name="connsiteX3" fmla="*/ 0 w 5143499"/>
              <a:gd name="connsiteY3" fmla="*/ 1936750 h 1936751"/>
              <a:gd name="connsiteX4" fmla="*/ 1030287 w 5143499"/>
              <a:gd name="connsiteY4" fmla="*/ 0 h 1936751"/>
              <a:gd name="connsiteX0" fmla="*/ 1030287 w 5143499"/>
              <a:gd name="connsiteY0" fmla="*/ 0 h 1936751"/>
              <a:gd name="connsiteX1" fmla="*/ 4581524 w 5143499"/>
              <a:gd name="connsiteY1" fmla="*/ 0 h 1936751"/>
              <a:gd name="connsiteX2" fmla="*/ 5143499 w 5143499"/>
              <a:gd name="connsiteY2" fmla="*/ 1936751 h 1936751"/>
              <a:gd name="connsiteX3" fmla="*/ 0 w 5143499"/>
              <a:gd name="connsiteY3" fmla="*/ 1936750 h 1936751"/>
              <a:gd name="connsiteX4" fmla="*/ 1030287 w 5143499"/>
              <a:gd name="connsiteY4" fmla="*/ 0 h 1936751"/>
              <a:gd name="connsiteX0" fmla="*/ 1030287 w 4581524"/>
              <a:gd name="connsiteY0" fmla="*/ 0 h 1936751"/>
              <a:gd name="connsiteX1" fmla="*/ 4581524 w 4581524"/>
              <a:gd name="connsiteY1" fmla="*/ 0 h 1936751"/>
              <a:gd name="connsiteX2" fmla="*/ 4581524 w 4581524"/>
              <a:gd name="connsiteY2" fmla="*/ 1936751 h 1936751"/>
              <a:gd name="connsiteX3" fmla="*/ 0 w 4581524"/>
              <a:gd name="connsiteY3" fmla="*/ 1936750 h 1936751"/>
              <a:gd name="connsiteX4" fmla="*/ 1030287 w 4581524"/>
              <a:gd name="connsiteY4" fmla="*/ 0 h 1936751"/>
              <a:gd name="connsiteX0" fmla="*/ 1030287 w 5429249"/>
              <a:gd name="connsiteY0" fmla="*/ 0 h 1936751"/>
              <a:gd name="connsiteX1" fmla="*/ 5429249 w 5429249"/>
              <a:gd name="connsiteY1" fmla="*/ 0 h 1936751"/>
              <a:gd name="connsiteX2" fmla="*/ 4581524 w 5429249"/>
              <a:gd name="connsiteY2" fmla="*/ 1936751 h 1936751"/>
              <a:gd name="connsiteX3" fmla="*/ 0 w 5429249"/>
              <a:gd name="connsiteY3" fmla="*/ 1936750 h 1936751"/>
              <a:gd name="connsiteX4" fmla="*/ 1030287 w 5429249"/>
              <a:gd name="connsiteY4" fmla="*/ 0 h 1936751"/>
              <a:gd name="connsiteX0" fmla="*/ 1030287 w 5429249"/>
              <a:gd name="connsiteY0" fmla="*/ 0 h 1936750"/>
              <a:gd name="connsiteX1" fmla="*/ 5429249 w 5429249"/>
              <a:gd name="connsiteY1" fmla="*/ 0 h 1936750"/>
              <a:gd name="connsiteX2" fmla="*/ 5429249 w 5429249"/>
              <a:gd name="connsiteY2" fmla="*/ 1936750 h 1936750"/>
              <a:gd name="connsiteX3" fmla="*/ 0 w 5429249"/>
              <a:gd name="connsiteY3" fmla="*/ 1936750 h 1936750"/>
              <a:gd name="connsiteX4" fmla="*/ 1030287 w 5429249"/>
              <a:gd name="connsiteY4" fmla="*/ 0 h 1936750"/>
              <a:gd name="connsiteX0" fmla="*/ 1030287 w 5429249"/>
              <a:gd name="connsiteY0" fmla="*/ 0 h 1936750"/>
              <a:gd name="connsiteX1" fmla="*/ 4568825 w 5429249"/>
              <a:gd name="connsiteY1" fmla="*/ 0 h 1936750"/>
              <a:gd name="connsiteX2" fmla="*/ 5429249 w 5429249"/>
              <a:gd name="connsiteY2" fmla="*/ 1936750 h 1936750"/>
              <a:gd name="connsiteX3" fmla="*/ 0 w 5429249"/>
              <a:gd name="connsiteY3" fmla="*/ 1936750 h 1936750"/>
              <a:gd name="connsiteX4" fmla="*/ 1030287 w 5429249"/>
              <a:gd name="connsiteY4" fmla="*/ 0 h 1936750"/>
              <a:gd name="connsiteX0" fmla="*/ 1030287 w 4568825"/>
              <a:gd name="connsiteY0" fmla="*/ 0 h 1936750"/>
              <a:gd name="connsiteX1" fmla="*/ 4568825 w 4568825"/>
              <a:gd name="connsiteY1" fmla="*/ 0 h 1936750"/>
              <a:gd name="connsiteX2" fmla="*/ 4568825 w 4568825"/>
              <a:gd name="connsiteY2" fmla="*/ 1936750 h 1936750"/>
              <a:gd name="connsiteX3" fmla="*/ 0 w 4568825"/>
              <a:gd name="connsiteY3" fmla="*/ 1936750 h 1936750"/>
              <a:gd name="connsiteX4" fmla="*/ 1030287 w 4568825"/>
              <a:gd name="connsiteY4" fmla="*/ 0 h 1936750"/>
              <a:gd name="connsiteX0" fmla="*/ 1051374 w 4568825"/>
              <a:gd name="connsiteY0" fmla="*/ 0 h 1936750"/>
              <a:gd name="connsiteX1" fmla="*/ 4568825 w 4568825"/>
              <a:gd name="connsiteY1" fmla="*/ 0 h 1936750"/>
              <a:gd name="connsiteX2" fmla="*/ 4568825 w 4568825"/>
              <a:gd name="connsiteY2" fmla="*/ 1936750 h 1936750"/>
              <a:gd name="connsiteX3" fmla="*/ 0 w 4568825"/>
              <a:gd name="connsiteY3" fmla="*/ 1936750 h 1936750"/>
              <a:gd name="connsiteX4" fmla="*/ 1051374 w 4568825"/>
              <a:gd name="connsiteY4" fmla="*/ 0 h 1936750"/>
              <a:gd name="connsiteX0" fmla="*/ 1039324 w 4556775"/>
              <a:gd name="connsiteY0" fmla="*/ 0 h 1936750"/>
              <a:gd name="connsiteX1" fmla="*/ 4556775 w 4556775"/>
              <a:gd name="connsiteY1" fmla="*/ 0 h 1936750"/>
              <a:gd name="connsiteX2" fmla="*/ 4556775 w 4556775"/>
              <a:gd name="connsiteY2" fmla="*/ 1936750 h 1936750"/>
              <a:gd name="connsiteX3" fmla="*/ 0 w 4556775"/>
              <a:gd name="connsiteY3" fmla="*/ 1936750 h 1936750"/>
              <a:gd name="connsiteX4" fmla="*/ 1039324 w 4556775"/>
              <a:gd name="connsiteY4" fmla="*/ 0 h 1936750"/>
              <a:gd name="connsiteX0" fmla="*/ 1039324 w 4556775"/>
              <a:gd name="connsiteY0" fmla="*/ 2705 h 1939455"/>
              <a:gd name="connsiteX1" fmla="*/ 3707428 w 4556775"/>
              <a:gd name="connsiteY1" fmla="*/ 0 h 1939455"/>
              <a:gd name="connsiteX2" fmla="*/ 4556775 w 4556775"/>
              <a:gd name="connsiteY2" fmla="*/ 1939455 h 1939455"/>
              <a:gd name="connsiteX3" fmla="*/ 0 w 4556775"/>
              <a:gd name="connsiteY3" fmla="*/ 1939455 h 1939455"/>
              <a:gd name="connsiteX4" fmla="*/ 1039324 w 4556775"/>
              <a:gd name="connsiteY4" fmla="*/ 2705 h 1939455"/>
              <a:gd name="connsiteX0" fmla="*/ 1039324 w 3707428"/>
              <a:gd name="connsiteY0" fmla="*/ 2705 h 1939455"/>
              <a:gd name="connsiteX1" fmla="*/ 3707428 w 3707428"/>
              <a:gd name="connsiteY1" fmla="*/ 0 h 1939455"/>
              <a:gd name="connsiteX2" fmla="*/ 3031197 w 3707428"/>
              <a:gd name="connsiteY2" fmla="*/ 1728471 h 1939455"/>
              <a:gd name="connsiteX3" fmla="*/ 0 w 3707428"/>
              <a:gd name="connsiteY3" fmla="*/ 1939455 h 1939455"/>
              <a:gd name="connsiteX4" fmla="*/ 1039324 w 3707428"/>
              <a:gd name="connsiteY4" fmla="*/ 2705 h 1939455"/>
              <a:gd name="connsiteX0" fmla="*/ 1039324 w 3707429"/>
              <a:gd name="connsiteY0" fmla="*/ 2705 h 1950275"/>
              <a:gd name="connsiteX1" fmla="*/ 3707428 w 3707429"/>
              <a:gd name="connsiteY1" fmla="*/ 0 h 1950275"/>
              <a:gd name="connsiteX2" fmla="*/ 3707429 w 3707429"/>
              <a:gd name="connsiteY2" fmla="*/ 1950275 h 1950275"/>
              <a:gd name="connsiteX3" fmla="*/ 0 w 3707429"/>
              <a:gd name="connsiteY3" fmla="*/ 1939455 h 1950275"/>
              <a:gd name="connsiteX4" fmla="*/ 1039324 w 3707429"/>
              <a:gd name="connsiteY4" fmla="*/ 2705 h 1950275"/>
              <a:gd name="connsiteX0" fmla="*/ 1039324 w 3739887"/>
              <a:gd name="connsiteY0" fmla="*/ 2705 h 1950275"/>
              <a:gd name="connsiteX1" fmla="*/ 3739887 w 3739887"/>
              <a:gd name="connsiteY1" fmla="*/ 0 h 1950275"/>
              <a:gd name="connsiteX2" fmla="*/ 3707429 w 3739887"/>
              <a:gd name="connsiteY2" fmla="*/ 1950275 h 1950275"/>
              <a:gd name="connsiteX3" fmla="*/ 0 w 3739887"/>
              <a:gd name="connsiteY3" fmla="*/ 1939455 h 1950275"/>
              <a:gd name="connsiteX4" fmla="*/ 1039324 w 3739887"/>
              <a:gd name="connsiteY4" fmla="*/ 2705 h 1950275"/>
              <a:gd name="connsiteX0" fmla="*/ 1039324 w 3739887"/>
              <a:gd name="connsiteY0" fmla="*/ 2705 h 1950275"/>
              <a:gd name="connsiteX1" fmla="*/ 3739887 w 3739887"/>
              <a:gd name="connsiteY1" fmla="*/ 0 h 1950275"/>
              <a:gd name="connsiteX2" fmla="*/ 3735831 w 3739887"/>
              <a:gd name="connsiteY2" fmla="*/ 1950275 h 1950275"/>
              <a:gd name="connsiteX3" fmla="*/ 0 w 3739887"/>
              <a:gd name="connsiteY3" fmla="*/ 1939455 h 1950275"/>
              <a:gd name="connsiteX4" fmla="*/ 1039324 w 3739887"/>
              <a:gd name="connsiteY4" fmla="*/ 2705 h 1950275"/>
              <a:gd name="connsiteX0" fmla="*/ 1039324 w 3766260"/>
              <a:gd name="connsiteY0" fmla="*/ 2705 h 1950275"/>
              <a:gd name="connsiteX1" fmla="*/ 3766260 w 3766260"/>
              <a:gd name="connsiteY1" fmla="*/ 0 h 1950275"/>
              <a:gd name="connsiteX2" fmla="*/ 3735831 w 3766260"/>
              <a:gd name="connsiteY2" fmla="*/ 1950275 h 1950275"/>
              <a:gd name="connsiteX3" fmla="*/ 0 w 3766260"/>
              <a:gd name="connsiteY3" fmla="*/ 1939455 h 1950275"/>
              <a:gd name="connsiteX4" fmla="*/ 1039324 w 3766260"/>
              <a:gd name="connsiteY4" fmla="*/ 2705 h 1950275"/>
              <a:gd name="connsiteX0" fmla="*/ 1039324 w 3766262"/>
              <a:gd name="connsiteY0" fmla="*/ 2705 h 1946217"/>
              <a:gd name="connsiteX1" fmla="*/ 3766260 w 3766262"/>
              <a:gd name="connsiteY1" fmla="*/ 0 h 1946217"/>
              <a:gd name="connsiteX2" fmla="*/ 3766262 w 3766262"/>
              <a:gd name="connsiteY2" fmla="*/ 1946217 h 1946217"/>
              <a:gd name="connsiteX3" fmla="*/ 0 w 3766262"/>
              <a:gd name="connsiteY3" fmla="*/ 1939455 h 1946217"/>
              <a:gd name="connsiteX4" fmla="*/ 1039324 w 3766262"/>
              <a:gd name="connsiteY4" fmla="*/ 2705 h 1946217"/>
              <a:gd name="connsiteX0" fmla="*/ 1039324 w 3766262"/>
              <a:gd name="connsiteY0" fmla="*/ 2705 h 1946217"/>
              <a:gd name="connsiteX1" fmla="*/ 3766260 w 3766262"/>
              <a:gd name="connsiteY1" fmla="*/ 0 h 1946217"/>
              <a:gd name="connsiteX2" fmla="*/ 3766262 w 3766262"/>
              <a:gd name="connsiteY2" fmla="*/ 1946217 h 1946217"/>
              <a:gd name="connsiteX3" fmla="*/ 0 w 3766262"/>
              <a:gd name="connsiteY3" fmla="*/ 1939455 h 1946217"/>
              <a:gd name="connsiteX4" fmla="*/ 1039324 w 3766262"/>
              <a:gd name="connsiteY4" fmla="*/ 2705 h 1946217"/>
              <a:gd name="connsiteX0" fmla="*/ 1039324 w 3766262"/>
              <a:gd name="connsiteY0" fmla="*/ 2705 h 1946217"/>
              <a:gd name="connsiteX1" fmla="*/ 3766260 w 3766262"/>
              <a:gd name="connsiteY1" fmla="*/ 0 h 1946217"/>
              <a:gd name="connsiteX2" fmla="*/ 3766262 w 3766262"/>
              <a:gd name="connsiteY2" fmla="*/ 1946217 h 1946217"/>
              <a:gd name="connsiteX3" fmla="*/ 0 w 3766262"/>
              <a:gd name="connsiteY3" fmla="*/ 1939455 h 1946217"/>
              <a:gd name="connsiteX4" fmla="*/ 1039324 w 3766262"/>
              <a:gd name="connsiteY4" fmla="*/ 2705 h 19462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66262" h="1946217">
                <a:moveTo>
                  <a:pt x="1039324" y="2705"/>
                </a:moveTo>
                <a:lnTo>
                  <a:pt x="3766260" y="0"/>
                </a:lnTo>
                <a:cubicBezTo>
                  <a:pt x="3766261" y="973108"/>
                  <a:pt x="3766261" y="973108"/>
                  <a:pt x="3766262" y="1946217"/>
                </a:cubicBezTo>
                <a:lnTo>
                  <a:pt x="0" y="1939455"/>
                </a:lnTo>
                <a:lnTo>
                  <a:pt x="1039324" y="2705"/>
                </a:lnTo>
                <a:close/>
              </a:path>
            </a:pathLst>
          </a:custGeom>
          <a:solidFill>
            <a:schemeClr val="bg1">
              <a:lumMod val="95000"/>
            </a:schemeClr>
          </a:solidFill>
        </p:spPr>
        <p:txBody>
          <a:bodyPr anchor="ctr">
            <a:noAutofit/>
          </a:bodyPr>
          <a:lstStyle>
            <a:lvl1pPr algn="ctr">
              <a:defRPr>
                <a:solidFill>
                  <a:schemeClr val="tx1"/>
                </a:solidFill>
              </a:defRPr>
            </a:lvl1pPr>
          </a:lstStyle>
          <a:p>
            <a:r>
              <a:rPr lang="en-US" dirty="0"/>
              <a:t>Click icon to add picture</a:t>
            </a:r>
          </a:p>
        </p:txBody>
      </p:sp>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10" name="Text Placeholder 4"/>
          <p:cNvSpPr>
            <a:spLocks noGrp="1"/>
          </p:cNvSpPr>
          <p:nvPr>
            <p:ph type="body" sz="quarter" idx="11"/>
          </p:nvPr>
        </p:nvSpPr>
        <p:spPr>
          <a:xfrm>
            <a:off x="684000" y="1817689"/>
            <a:ext cx="2987888" cy="1170474"/>
          </a:xfrm>
          <a:prstGeom prst="rect">
            <a:avLst/>
          </a:prstGeo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2"/>
          </p:nvPr>
        </p:nvSpPr>
        <p:spPr>
          <a:xfrm>
            <a:off x="3889375" y="1817689"/>
            <a:ext cx="3024187" cy="1170474"/>
          </a:xfrm>
          <a:prstGeom prst="rect">
            <a:avLst/>
          </a:prstGeo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6" name="Text Placeholder 9"/>
          <p:cNvSpPr>
            <a:spLocks noGrp="1"/>
          </p:cNvSpPr>
          <p:nvPr>
            <p:ph type="body" sz="quarter" idx="16" hasCustomPrompt="1"/>
            <p:custDataLst>
              <p:tags r:id="rId4"/>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cxnSp>
        <p:nvCxnSpPr>
          <p:cNvPr id="11" name="Straight Connector 10"/>
          <p:cNvCxnSpPr/>
          <p:nvPr userDrawn="1">
            <p:custDataLst>
              <p:tags r:id="rId5"/>
            </p:custDataLst>
          </p:nvPr>
        </p:nvCxnSpPr>
        <p:spPr>
          <a:xfrm>
            <a:off x="684000" y="1330185"/>
            <a:ext cx="6228000" cy="0"/>
          </a:xfrm>
          <a:prstGeom prst="line">
            <a:avLst/>
          </a:prstGeom>
          <a:ln w="19050">
            <a:solidFill>
              <a:schemeClr val="tx1">
                <a:lumMod val="40000"/>
                <a:lumOff val="60000"/>
              </a:schemeClr>
            </a:solidFill>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4055378979"/>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Left">
    <p:spTree>
      <p:nvGrpSpPr>
        <p:cNvPr id="1" name=""/>
        <p:cNvGrpSpPr/>
        <p:nvPr/>
      </p:nvGrpSpPr>
      <p:grpSpPr>
        <a:xfrm>
          <a:off x="0" y="0"/>
          <a:ext cx="0" cy="0"/>
          <a:chOff x="0" y="0"/>
          <a:chExt cx="0" cy="0"/>
        </a:xfrm>
      </p:grpSpPr>
      <p:sp>
        <p:nvSpPr>
          <p:cNvPr id="2" name="Title 1"/>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9" name="Text Placeholder 4"/>
          <p:cNvSpPr>
            <a:spLocks noGrp="1"/>
          </p:cNvSpPr>
          <p:nvPr>
            <p:ph type="body" sz="quarter" idx="11"/>
          </p:nvPr>
        </p:nvSpPr>
        <p:spPr>
          <a:xfrm>
            <a:off x="684000" y="1817689"/>
            <a:ext cx="2987888" cy="1170474"/>
          </a:xfrm>
          <a:prstGeom prst="rect">
            <a:avLst/>
          </a:prstGeo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9"/>
          <p:cNvSpPr>
            <a:spLocks noGrp="1"/>
          </p:cNvSpPr>
          <p:nvPr>
            <p:ph type="body" sz="quarter" idx="14" hasCustomPrompt="1"/>
            <p:custDataLst>
              <p:tags r:id="rId1"/>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1234489551"/>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Right">
    <p:spTree>
      <p:nvGrpSpPr>
        <p:cNvPr id="1" name=""/>
        <p:cNvGrpSpPr/>
        <p:nvPr/>
      </p:nvGrpSpPr>
      <p:grpSpPr>
        <a:xfrm>
          <a:off x="0" y="0"/>
          <a:ext cx="0" cy="0"/>
          <a:chOff x="0" y="0"/>
          <a:chExt cx="0" cy="0"/>
        </a:xfrm>
      </p:grpSpPr>
      <p:sp>
        <p:nvSpPr>
          <p:cNvPr id="2" name="Title 1"/>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8" name="Text Placeholder 4"/>
          <p:cNvSpPr>
            <a:spLocks noGrp="1"/>
          </p:cNvSpPr>
          <p:nvPr>
            <p:ph type="body" sz="quarter" idx="12"/>
          </p:nvPr>
        </p:nvSpPr>
        <p:spPr>
          <a:xfrm>
            <a:off x="3889375" y="1817689"/>
            <a:ext cx="3024187" cy="1170474"/>
          </a:xfrm>
          <a:prstGeom prst="rect">
            <a:avLst/>
          </a:prstGeo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 Placeholder 9"/>
          <p:cNvSpPr>
            <a:spLocks noGrp="1"/>
          </p:cNvSpPr>
          <p:nvPr>
            <p:ph type="body" sz="quarter" idx="14" hasCustomPrompt="1"/>
            <p:custDataLst>
              <p:tags r:id="rId1"/>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290099922"/>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683998" y="1817689"/>
            <a:ext cx="1926000" cy="1323439"/>
          </a:xfrm>
          <a:prstGeom prst="rect">
            <a:avLst/>
          </a:prstGeom>
        </p:spPr>
        <p:txBody>
          <a:bodyPr>
            <a:sp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ext Placeholder 4"/>
          <p:cNvSpPr>
            <a:spLocks noGrp="1"/>
          </p:cNvSpPr>
          <p:nvPr>
            <p:ph type="body" sz="quarter" idx="12"/>
          </p:nvPr>
        </p:nvSpPr>
        <p:spPr>
          <a:xfrm>
            <a:off x="2835780" y="1817689"/>
            <a:ext cx="1926000" cy="1323439"/>
          </a:xfrm>
          <a:prstGeom prst="rect">
            <a:avLst/>
          </a:prstGeom>
        </p:spPr>
        <p:txBody>
          <a:bodyPr>
            <a:sp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Text Placeholder 4"/>
          <p:cNvSpPr>
            <a:spLocks noGrp="1"/>
          </p:cNvSpPr>
          <p:nvPr>
            <p:ph type="body" sz="quarter" idx="13"/>
          </p:nvPr>
        </p:nvSpPr>
        <p:spPr>
          <a:xfrm>
            <a:off x="4987562" y="1817689"/>
            <a:ext cx="1926000" cy="1323439"/>
          </a:xfrm>
          <a:prstGeom prst="rect">
            <a:avLst/>
          </a:prstGeom>
        </p:spPr>
        <p:txBody>
          <a:bodyPr>
            <a:spAutoFit/>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9" name="Text Placeholder 9"/>
          <p:cNvSpPr>
            <a:spLocks noGrp="1"/>
          </p:cNvSpPr>
          <p:nvPr>
            <p:ph type="body" sz="quarter" idx="14" hasCustomPrompt="1"/>
            <p:custDataLst>
              <p:tags r:id="rId1"/>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1281564525"/>
      </p:ext>
    </p:extLst>
  </p:cSld>
  <p:clrMapOvr>
    <a:masterClrMapping/>
  </p:clrMapOvr>
  <p:extLst>
    <p:ext uri="{DCECCB84-F9BA-43D5-87BE-67443E8EF086}">
      <p15:sldGuideLst xmlns:p15="http://schemas.microsoft.com/office/powerpoint/2012/main">
        <p15:guide id="1" pos="1656" userDrawn="1">
          <p15:clr>
            <a:srgbClr val="FBAE40"/>
          </p15:clr>
        </p15:guide>
        <p15:guide id="2" pos="1792" userDrawn="1">
          <p15:clr>
            <a:srgbClr val="FBAE40"/>
          </p15:clr>
        </p15:guide>
        <p15:guide id="3" pos="2994" userDrawn="1">
          <p15:clr>
            <a:srgbClr val="FBAE40"/>
          </p15:clr>
        </p15:guide>
        <p15:guide id="4" pos="313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4" name="Text Placeholder 9"/>
          <p:cNvSpPr>
            <a:spLocks noGrp="1"/>
          </p:cNvSpPr>
          <p:nvPr>
            <p:ph type="body" sz="quarter" idx="14" hasCustomPrompt="1"/>
            <p:custDataLst>
              <p:tags r:id="rId1"/>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19467511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with Half Page Image">
    <p:spTree>
      <p:nvGrpSpPr>
        <p:cNvPr id="1" name=""/>
        <p:cNvGrpSpPr/>
        <p:nvPr/>
      </p:nvGrpSpPr>
      <p:grpSpPr>
        <a:xfrm>
          <a:off x="0" y="0"/>
          <a:ext cx="0" cy="0"/>
          <a:chOff x="0" y="0"/>
          <a:chExt cx="0" cy="0"/>
        </a:xfrm>
      </p:grpSpPr>
      <p:sp>
        <p:nvSpPr>
          <p:cNvPr id="9" name="Picture Placeholder 5"/>
          <p:cNvSpPr>
            <a:spLocks noGrp="1"/>
          </p:cNvSpPr>
          <p:nvPr>
            <p:ph type="pic" sz="quarter" idx="15"/>
          </p:nvPr>
        </p:nvSpPr>
        <p:spPr>
          <a:xfrm>
            <a:off x="3889375" y="1817689"/>
            <a:ext cx="3024187" cy="7988711"/>
          </a:xfrm>
          <a:prstGeom prst="rect">
            <a:avLst/>
          </a:prstGeom>
          <a:solidFill>
            <a:schemeClr val="bg1">
              <a:lumMod val="95000"/>
            </a:schemeClr>
          </a:solidFill>
        </p:spPr>
        <p:txBody>
          <a:bodyPr anchor="ctr" anchorCtr="1">
            <a:noAutofit/>
          </a:bodyPr>
          <a:lstStyle>
            <a:lvl1pPr>
              <a:defRPr>
                <a:solidFill>
                  <a:schemeClr val="tx1"/>
                </a:solidFill>
              </a:defRPr>
            </a:lvl1pPr>
          </a:lstStyle>
          <a:p>
            <a:r>
              <a:rPr lang="en-US" dirty="0"/>
              <a:t>Click icon to add picture</a:t>
            </a:r>
            <a:endParaRPr lang="en-GB" dirty="0"/>
          </a:p>
        </p:txBody>
      </p:sp>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11" name="Text Placeholder 4"/>
          <p:cNvSpPr>
            <a:spLocks noGrp="1"/>
          </p:cNvSpPr>
          <p:nvPr>
            <p:ph type="body" sz="quarter" idx="11"/>
          </p:nvPr>
        </p:nvSpPr>
        <p:spPr>
          <a:xfrm>
            <a:off x="684000" y="1817689"/>
            <a:ext cx="2987888" cy="1170474"/>
          </a:xfrm>
          <a:prstGeom prst="rect">
            <a:avLst/>
          </a:prstGeo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9"/>
          <p:cNvSpPr>
            <a:spLocks noGrp="1"/>
          </p:cNvSpPr>
          <p:nvPr>
            <p:ph type="body" sz="quarter" idx="14" hasCustomPrompt="1"/>
            <p:custDataLst>
              <p:tags r:id="rId1"/>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1825380007"/>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allout One">
    <p:spTree>
      <p:nvGrpSpPr>
        <p:cNvPr id="1" name=""/>
        <p:cNvGrpSpPr/>
        <p:nvPr/>
      </p:nvGrpSpPr>
      <p:grpSpPr>
        <a:xfrm>
          <a:off x="0" y="0"/>
          <a:ext cx="0" cy="0"/>
          <a:chOff x="0" y="0"/>
          <a:chExt cx="0" cy="0"/>
        </a:xfrm>
      </p:grpSpPr>
      <p:sp>
        <p:nvSpPr>
          <p:cNvPr id="10" name="Picture Placeholder 19"/>
          <p:cNvSpPr>
            <a:spLocks noGrp="1"/>
          </p:cNvSpPr>
          <p:nvPr>
            <p:ph type="pic" sz="quarter" idx="11" hasCustomPrompt="1"/>
            <p:custDataLst>
              <p:tags r:id="rId1"/>
            </p:custDataLst>
          </p:nvPr>
        </p:nvSpPr>
        <p:spPr>
          <a:xfrm>
            <a:off x="1226482" y="-3175"/>
            <a:ext cx="6335579" cy="10696575"/>
          </a:xfrm>
          <a:custGeom>
            <a:avLst/>
            <a:gdLst>
              <a:gd name="connsiteX0" fmla="*/ 5632914 w 5900604"/>
              <a:gd name="connsiteY0" fmla="*/ 0 h 10696575"/>
              <a:gd name="connsiteX1" fmla="*/ 5900604 w 5900604"/>
              <a:gd name="connsiteY1" fmla="*/ 0 h 10696575"/>
              <a:gd name="connsiteX2" fmla="*/ 5900604 w 5900604"/>
              <a:gd name="connsiteY2" fmla="*/ 10696575 h 10696575"/>
              <a:gd name="connsiteX3" fmla="*/ 0 w 5900604"/>
              <a:gd name="connsiteY3" fmla="*/ 10696575 h 10696575"/>
              <a:gd name="connsiteX0" fmla="*/ 5632914 w 6307004"/>
              <a:gd name="connsiteY0" fmla="*/ 0 h 10696575"/>
              <a:gd name="connsiteX1" fmla="*/ 6307004 w 6307004"/>
              <a:gd name="connsiteY1" fmla="*/ 0 h 10696575"/>
              <a:gd name="connsiteX2" fmla="*/ 5900604 w 6307004"/>
              <a:gd name="connsiteY2" fmla="*/ 10696575 h 10696575"/>
              <a:gd name="connsiteX3" fmla="*/ 0 w 6307004"/>
              <a:gd name="connsiteY3" fmla="*/ 10696575 h 10696575"/>
              <a:gd name="connsiteX4" fmla="*/ 5632914 w 6307004"/>
              <a:gd name="connsiteY4" fmla="*/ 0 h 10696575"/>
              <a:gd name="connsiteX0" fmla="*/ 5632914 w 6307004"/>
              <a:gd name="connsiteY0" fmla="*/ 0 h 10696575"/>
              <a:gd name="connsiteX1" fmla="*/ 6307004 w 6307004"/>
              <a:gd name="connsiteY1" fmla="*/ 0 h 10696575"/>
              <a:gd name="connsiteX2" fmla="*/ 6307004 w 6307004"/>
              <a:gd name="connsiteY2" fmla="*/ 10696575 h 10696575"/>
              <a:gd name="connsiteX3" fmla="*/ 0 w 6307004"/>
              <a:gd name="connsiteY3" fmla="*/ 10696575 h 10696575"/>
              <a:gd name="connsiteX4" fmla="*/ 5632914 w 6307004"/>
              <a:gd name="connsiteY4" fmla="*/ 0 h 10696575"/>
              <a:gd name="connsiteX0" fmla="*/ 5632914 w 6307004"/>
              <a:gd name="connsiteY0" fmla="*/ 0 h 10696575"/>
              <a:gd name="connsiteX1" fmla="*/ 6307004 w 6307004"/>
              <a:gd name="connsiteY1" fmla="*/ 0 h 10696575"/>
              <a:gd name="connsiteX2" fmla="*/ 6307004 w 6307004"/>
              <a:gd name="connsiteY2" fmla="*/ 10696575 h 10696575"/>
              <a:gd name="connsiteX3" fmla="*/ 0 w 6307004"/>
              <a:gd name="connsiteY3" fmla="*/ 10696575 h 10696575"/>
              <a:gd name="connsiteX4" fmla="*/ 5632914 w 6307004"/>
              <a:gd name="connsiteY4" fmla="*/ 0 h 10696575"/>
              <a:gd name="connsiteX0" fmla="*/ 5632914 w 6307004"/>
              <a:gd name="connsiteY0" fmla="*/ 0 h 10696575"/>
              <a:gd name="connsiteX1" fmla="*/ 6307004 w 6307004"/>
              <a:gd name="connsiteY1" fmla="*/ 0 h 10696575"/>
              <a:gd name="connsiteX2" fmla="*/ 6307004 w 6307004"/>
              <a:gd name="connsiteY2" fmla="*/ 10696575 h 10696575"/>
              <a:gd name="connsiteX3" fmla="*/ 0 w 6307004"/>
              <a:gd name="connsiteY3" fmla="*/ 10696575 h 10696575"/>
              <a:gd name="connsiteX4" fmla="*/ 5632914 w 6307004"/>
              <a:gd name="connsiteY4" fmla="*/ 0 h 10696575"/>
              <a:gd name="connsiteX0" fmla="*/ 5632914 w 6335579"/>
              <a:gd name="connsiteY0" fmla="*/ 0 h 10696575"/>
              <a:gd name="connsiteX1" fmla="*/ 6335579 w 6335579"/>
              <a:gd name="connsiteY1" fmla="*/ 2381 h 10696575"/>
              <a:gd name="connsiteX2" fmla="*/ 6307004 w 6335579"/>
              <a:gd name="connsiteY2" fmla="*/ 10696575 h 10696575"/>
              <a:gd name="connsiteX3" fmla="*/ 0 w 6335579"/>
              <a:gd name="connsiteY3" fmla="*/ 10696575 h 10696575"/>
              <a:gd name="connsiteX4" fmla="*/ 5632914 w 6335579"/>
              <a:gd name="connsiteY4" fmla="*/ 0 h 10696575"/>
              <a:gd name="connsiteX0" fmla="*/ 5632914 w 6335579"/>
              <a:gd name="connsiteY0" fmla="*/ 0 h 10696575"/>
              <a:gd name="connsiteX1" fmla="*/ 6335579 w 6335579"/>
              <a:gd name="connsiteY1" fmla="*/ 2381 h 10696575"/>
              <a:gd name="connsiteX2" fmla="*/ 6307004 w 6335579"/>
              <a:gd name="connsiteY2" fmla="*/ 10696575 h 10696575"/>
              <a:gd name="connsiteX3" fmla="*/ 0 w 6335579"/>
              <a:gd name="connsiteY3" fmla="*/ 10696575 h 10696575"/>
              <a:gd name="connsiteX4" fmla="*/ 5632914 w 6335579"/>
              <a:gd name="connsiteY4" fmla="*/ 0 h 10696575"/>
              <a:gd name="connsiteX0" fmla="*/ 5632914 w 6337899"/>
              <a:gd name="connsiteY0" fmla="*/ 0 h 10696575"/>
              <a:gd name="connsiteX1" fmla="*/ 6335579 w 6337899"/>
              <a:gd name="connsiteY1" fmla="*/ 2381 h 10696575"/>
              <a:gd name="connsiteX2" fmla="*/ 6335579 w 6337899"/>
              <a:gd name="connsiteY2" fmla="*/ 10694193 h 10696575"/>
              <a:gd name="connsiteX3" fmla="*/ 0 w 6337899"/>
              <a:gd name="connsiteY3" fmla="*/ 10696575 h 10696575"/>
              <a:gd name="connsiteX4" fmla="*/ 5632914 w 6337899"/>
              <a:gd name="connsiteY4" fmla="*/ 0 h 10696575"/>
              <a:gd name="connsiteX0" fmla="*/ 5632914 w 6335579"/>
              <a:gd name="connsiteY0" fmla="*/ 0 h 10696575"/>
              <a:gd name="connsiteX1" fmla="*/ 6335579 w 6335579"/>
              <a:gd name="connsiteY1" fmla="*/ 2381 h 10696575"/>
              <a:gd name="connsiteX2" fmla="*/ 6335579 w 6335579"/>
              <a:gd name="connsiteY2" fmla="*/ 10694193 h 10696575"/>
              <a:gd name="connsiteX3" fmla="*/ 0 w 6335579"/>
              <a:gd name="connsiteY3" fmla="*/ 10696575 h 10696575"/>
              <a:gd name="connsiteX4" fmla="*/ 5632914 w 6335579"/>
              <a:gd name="connsiteY4" fmla="*/ 0 h 10696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5579" h="10696575">
                <a:moveTo>
                  <a:pt x="5632914" y="0"/>
                </a:moveTo>
                <a:lnTo>
                  <a:pt x="6335579" y="2381"/>
                </a:lnTo>
                <a:cubicBezTo>
                  <a:pt x="6321291" y="5349478"/>
                  <a:pt x="6335579" y="5348287"/>
                  <a:pt x="6335579" y="10694193"/>
                </a:cubicBezTo>
                <a:lnTo>
                  <a:pt x="0" y="10696575"/>
                </a:lnTo>
                <a:lnTo>
                  <a:pt x="5632914" y="0"/>
                </a:lnTo>
                <a:close/>
              </a:path>
            </a:pathLst>
          </a:custGeom>
          <a:solidFill>
            <a:schemeClr val="bg1">
              <a:lumMod val="95000"/>
            </a:schemeClr>
          </a:solidFill>
          <a:ln>
            <a:noFill/>
          </a:ln>
        </p:spPr>
        <p:txBody>
          <a:bodyPr wrap="square" anchor="ctr" anchorCtr="1">
            <a:noAutofit/>
          </a:bodyPr>
          <a:lstStyle>
            <a:lvl1pPr algn="ctr">
              <a:defRPr>
                <a:solidFill>
                  <a:schemeClr val="tx1"/>
                </a:solidFill>
              </a:defRPr>
            </a:lvl1pPr>
          </a:lstStyle>
          <a:p>
            <a:r>
              <a:rPr lang="en-US" dirty="0"/>
              <a:t>Click icon to </a:t>
            </a:r>
            <a:br>
              <a:rPr lang="en-US" dirty="0"/>
            </a:br>
            <a:r>
              <a:rPr lang="en-US" dirty="0"/>
              <a:t>add picture</a:t>
            </a:r>
            <a:endParaRPr lang="en-GB" dirty="0"/>
          </a:p>
        </p:txBody>
      </p:sp>
      <p:sp>
        <p:nvSpPr>
          <p:cNvPr id="14" name="Freeform 13"/>
          <p:cNvSpPr/>
          <p:nvPr userDrawn="1"/>
        </p:nvSpPr>
        <p:spPr>
          <a:xfrm>
            <a:off x="0" y="0"/>
            <a:ext cx="6708775" cy="10693400"/>
          </a:xfrm>
          <a:custGeom>
            <a:avLst/>
            <a:gdLst>
              <a:gd name="connsiteX0" fmla="*/ 0 w 6708775"/>
              <a:gd name="connsiteY0" fmla="*/ 0 h 10693400"/>
              <a:gd name="connsiteX1" fmla="*/ 6708775 w 6708775"/>
              <a:gd name="connsiteY1" fmla="*/ 0 h 10693400"/>
              <a:gd name="connsiteX2" fmla="*/ 1045984 w 6708775"/>
              <a:gd name="connsiteY2" fmla="*/ 10693400 h 10693400"/>
              <a:gd name="connsiteX3" fmla="*/ 0 w 6708775"/>
              <a:gd name="connsiteY3" fmla="*/ 10693400 h 10693400"/>
              <a:gd name="connsiteX4" fmla="*/ 0 w 6708775"/>
              <a:gd name="connsiteY4" fmla="*/ 0 h 1069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8775" h="10693400">
                <a:moveTo>
                  <a:pt x="0" y="0"/>
                </a:moveTo>
                <a:lnTo>
                  <a:pt x="6708775" y="0"/>
                </a:lnTo>
                <a:lnTo>
                  <a:pt x="1045984" y="10693400"/>
                </a:lnTo>
                <a:lnTo>
                  <a:pt x="0" y="10693400"/>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GB" sz="1200" dirty="0">
              <a:solidFill>
                <a:schemeClr val="bg1"/>
              </a:solidFill>
            </a:endParaRPr>
          </a:p>
        </p:txBody>
      </p:sp>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739536753"/>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0" y="0"/>
                        <a:ext cx="112252" cy="224510"/>
                      </a:xfrm>
                      <a:prstGeom prst="rect">
                        <a:avLst/>
                      </a:prstGeom>
                    </p:spPr>
                  </p:pic>
                </p:oleObj>
              </mc:Fallback>
            </mc:AlternateContent>
          </a:graphicData>
        </a:graphic>
      </p:graphicFrame>
      <p:sp>
        <p:nvSpPr>
          <p:cNvPr id="3" name="Text Placeholder 2"/>
          <p:cNvSpPr>
            <a:spLocks noGrp="1"/>
          </p:cNvSpPr>
          <p:nvPr>
            <p:ph type="body" idx="1" hasCustomPrompt="1"/>
            <p:custDataLst>
              <p:tags r:id="rId3"/>
            </p:custDataLst>
          </p:nvPr>
        </p:nvSpPr>
        <p:spPr>
          <a:xfrm>
            <a:off x="701675" y="3594417"/>
            <a:ext cx="2978150" cy="304699"/>
          </a:xfrm>
          <a:prstGeom prst="rect">
            <a:avLst/>
          </a:prstGeom>
        </p:spPr>
        <p:txBody>
          <a:bodyPr vert="horz" wrap="square" lIns="0" tIns="0" rIns="0" bIns="0" rtlCol="0">
            <a:spAutoFit/>
          </a:bodyPr>
          <a:lstStyle>
            <a:lvl1pPr>
              <a:defRPr lang="en-US" sz="1800" smtClean="0">
                <a:solidFill>
                  <a:schemeClr val="bg1"/>
                </a:solidFill>
              </a:defRPr>
            </a:lvl1pPr>
          </a:lstStyle>
          <a:p>
            <a:pPr lvl="0"/>
            <a:r>
              <a:rPr lang="en-US" dirty="0"/>
              <a:t>Call out message</a:t>
            </a:r>
          </a:p>
        </p:txBody>
      </p:sp>
      <p:sp>
        <p:nvSpPr>
          <p:cNvPr id="5" name="Text Placeholder 4"/>
          <p:cNvSpPr>
            <a:spLocks noGrp="1"/>
          </p:cNvSpPr>
          <p:nvPr>
            <p:ph type="body" sz="quarter" idx="10" hasCustomPrompt="1"/>
            <p:custDataLst>
              <p:tags r:id="rId4"/>
            </p:custDataLst>
          </p:nvPr>
        </p:nvSpPr>
        <p:spPr>
          <a:xfrm>
            <a:off x="701675" y="1198800"/>
            <a:ext cx="4235450" cy="1625060"/>
          </a:xfrm>
          <a:prstGeom prst="rect">
            <a:avLst/>
          </a:prstGeom>
        </p:spPr>
        <p:txBody>
          <a:bodyPr wrap="square">
            <a:spAutoFit/>
          </a:bodyPr>
          <a:lstStyle>
            <a:lvl1pPr>
              <a:lnSpc>
                <a:spcPct val="80000"/>
              </a:lnSpc>
              <a:spcAft>
                <a:spcPts val="0"/>
              </a:spcAft>
              <a:defRPr sz="6600" b="0" baseline="0">
                <a:solidFill>
                  <a:schemeClr val="bg1"/>
                </a:solidFill>
              </a:defRPr>
            </a:lvl1pPr>
          </a:lstStyle>
          <a:p>
            <a:pPr lvl="0"/>
            <a:r>
              <a:rPr lang="en-US" dirty="0"/>
              <a:t>Callout </a:t>
            </a:r>
            <a:br>
              <a:rPr lang="en-US" dirty="0"/>
            </a:br>
            <a:r>
              <a:rPr lang="en-US" dirty="0"/>
              <a:t>text</a:t>
            </a:r>
          </a:p>
        </p:txBody>
      </p:sp>
    </p:spTree>
    <p:extLst>
      <p:ext uri="{BB962C8B-B14F-4D97-AF65-F5344CB8AC3E}">
        <p14:creationId xmlns:p14="http://schemas.microsoft.com/office/powerpoint/2010/main" val="35353586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allout Two">
    <p:spTree>
      <p:nvGrpSpPr>
        <p:cNvPr id="1" name=""/>
        <p:cNvGrpSpPr/>
        <p:nvPr/>
      </p:nvGrpSpPr>
      <p:grpSpPr>
        <a:xfrm>
          <a:off x="0" y="0"/>
          <a:ext cx="0" cy="0"/>
          <a:chOff x="0" y="0"/>
          <a:chExt cx="0" cy="0"/>
        </a:xfrm>
      </p:grpSpPr>
      <p:sp>
        <p:nvSpPr>
          <p:cNvPr id="9" name="Picture Placeholder 19"/>
          <p:cNvSpPr>
            <a:spLocks noGrp="1"/>
          </p:cNvSpPr>
          <p:nvPr>
            <p:ph type="pic" sz="quarter" idx="11" hasCustomPrompt="1"/>
            <p:custDataLst>
              <p:tags r:id="rId1"/>
            </p:custDataLst>
          </p:nvPr>
        </p:nvSpPr>
        <p:spPr>
          <a:xfrm>
            <a:off x="1226482" y="-3175"/>
            <a:ext cx="6335579" cy="10696575"/>
          </a:xfrm>
          <a:custGeom>
            <a:avLst/>
            <a:gdLst>
              <a:gd name="connsiteX0" fmla="*/ 5632914 w 5900604"/>
              <a:gd name="connsiteY0" fmla="*/ 0 h 10696575"/>
              <a:gd name="connsiteX1" fmla="*/ 5900604 w 5900604"/>
              <a:gd name="connsiteY1" fmla="*/ 0 h 10696575"/>
              <a:gd name="connsiteX2" fmla="*/ 5900604 w 5900604"/>
              <a:gd name="connsiteY2" fmla="*/ 10696575 h 10696575"/>
              <a:gd name="connsiteX3" fmla="*/ 0 w 5900604"/>
              <a:gd name="connsiteY3" fmla="*/ 10696575 h 10696575"/>
              <a:gd name="connsiteX0" fmla="*/ 5632914 w 6307004"/>
              <a:gd name="connsiteY0" fmla="*/ 0 h 10696575"/>
              <a:gd name="connsiteX1" fmla="*/ 6307004 w 6307004"/>
              <a:gd name="connsiteY1" fmla="*/ 0 h 10696575"/>
              <a:gd name="connsiteX2" fmla="*/ 5900604 w 6307004"/>
              <a:gd name="connsiteY2" fmla="*/ 10696575 h 10696575"/>
              <a:gd name="connsiteX3" fmla="*/ 0 w 6307004"/>
              <a:gd name="connsiteY3" fmla="*/ 10696575 h 10696575"/>
              <a:gd name="connsiteX4" fmla="*/ 5632914 w 6307004"/>
              <a:gd name="connsiteY4" fmla="*/ 0 h 10696575"/>
              <a:gd name="connsiteX0" fmla="*/ 5632914 w 6307004"/>
              <a:gd name="connsiteY0" fmla="*/ 0 h 10696575"/>
              <a:gd name="connsiteX1" fmla="*/ 6307004 w 6307004"/>
              <a:gd name="connsiteY1" fmla="*/ 0 h 10696575"/>
              <a:gd name="connsiteX2" fmla="*/ 6307004 w 6307004"/>
              <a:gd name="connsiteY2" fmla="*/ 10696575 h 10696575"/>
              <a:gd name="connsiteX3" fmla="*/ 0 w 6307004"/>
              <a:gd name="connsiteY3" fmla="*/ 10696575 h 10696575"/>
              <a:gd name="connsiteX4" fmla="*/ 5632914 w 6307004"/>
              <a:gd name="connsiteY4" fmla="*/ 0 h 10696575"/>
              <a:gd name="connsiteX0" fmla="*/ 5632914 w 6307004"/>
              <a:gd name="connsiteY0" fmla="*/ 0 h 10696575"/>
              <a:gd name="connsiteX1" fmla="*/ 6307004 w 6307004"/>
              <a:gd name="connsiteY1" fmla="*/ 0 h 10696575"/>
              <a:gd name="connsiteX2" fmla="*/ 6307004 w 6307004"/>
              <a:gd name="connsiteY2" fmla="*/ 10696575 h 10696575"/>
              <a:gd name="connsiteX3" fmla="*/ 0 w 6307004"/>
              <a:gd name="connsiteY3" fmla="*/ 10696575 h 10696575"/>
              <a:gd name="connsiteX4" fmla="*/ 5632914 w 6307004"/>
              <a:gd name="connsiteY4" fmla="*/ 0 h 10696575"/>
              <a:gd name="connsiteX0" fmla="*/ 5632914 w 6307004"/>
              <a:gd name="connsiteY0" fmla="*/ 0 h 10696575"/>
              <a:gd name="connsiteX1" fmla="*/ 6307004 w 6307004"/>
              <a:gd name="connsiteY1" fmla="*/ 0 h 10696575"/>
              <a:gd name="connsiteX2" fmla="*/ 6307004 w 6307004"/>
              <a:gd name="connsiteY2" fmla="*/ 10696575 h 10696575"/>
              <a:gd name="connsiteX3" fmla="*/ 0 w 6307004"/>
              <a:gd name="connsiteY3" fmla="*/ 10696575 h 10696575"/>
              <a:gd name="connsiteX4" fmla="*/ 5632914 w 6307004"/>
              <a:gd name="connsiteY4" fmla="*/ 0 h 10696575"/>
              <a:gd name="connsiteX0" fmla="*/ 5632914 w 6335579"/>
              <a:gd name="connsiteY0" fmla="*/ 0 h 10696575"/>
              <a:gd name="connsiteX1" fmla="*/ 6335579 w 6335579"/>
              <a:gd name="connsiteY1" fmla="*/ 2381 h 10696575"/>
              <a:gd name="connsiteX2" fmla="*/ 6307004 w 6335579"/>
              <a:gd name="connsiteY2" fmla="*/ 10696575 h 10696575"/>
              <a:gd name="connsiteX3" fmla="*/ 0 w 6335579"/>
              <a:gd name="connsiteY3" fmla="*/ 10696575 h 10696575"/>
              <a:gd name="connsiteX4" fmla="*/ 5632914 w 6335579"/>
              <a:gd name="connsiteY4" fmla="*/ 0 h 10696575"/>
              <a:gd name="connsiteX0" fmla="*/ 5632914 w 6335579"/>
              <a:gd name="connsiteY0" fmla="*/ 0 h 10696575"/>
              <a:gd name="connsiteX1" fmla="*/ 6335579 w 6335579"/>
              <a:gd name="connsiteY1" fmla="*/ 2381 h 10696575"/>
              <a:gd name="connsiteX2" fmla="*/ 6307004 w 6335579"/>
              <a:gd name="connsiteY2" fmla="*/ 10696575 h 10696575"/>
              <a:gd name="connsiteX3" fmla="*/ 0 w 6335579"/>
              <a:gd name="connsiteY3" fmla="*/ 10696575 h 10696575"/>
              <a:gd name="connsiteX4" fmla="*/ 5632914 w 6335579"/>
              <a:gd name="connsiteY4" fmla="*/ 0 h 10696575"/>
              <a:gd name="connsiteX0" fmla="*/ 5632914 w 6337899"/>
              <a:gd name="connsiteY0" fmla="*/ 0 h 10696575"/>
              <a:gd name="connsiteX1" fmla="*/ 6335579 w 6337899"/>
              <a:gd name="connsiteY1" fmla="*/ 2381 h 10696575"/>
              <a:gd name="connsiteX2" fmla="*/ 6335579 w 6337899"/>
              <a:gd name="connsiteY2" fmla="*/ 10694193 h 10696575"/>
              <a:gd name="connsiteX3" fmla="*/ 0 w 6337899"/>
              <a:gd name="connsiteY3" fmla="*/ 10696575 h 10696575"/>
              <a:gd name="connsiteX4" fmla="*/ 5632914 w 6337899"/>
              <a:gd name="connsiteY4" fmla="*/ 0 h 10696575"/>
              <a:gd name="connsiteX0" fmla="*/ 5632914 w 6335579"/>
              <a:gd name="connsiteY0" fmla="*/ 0 h 10696575"/>
              <a:gd name="connsiteX1" fmla="*/ 6335579 w 6335579"/>
              <a:gd name="connsiteY1" fmla="*/ 2381 h 10696575"/>
              <a:gd name="connsiteX2" fmla="*/ 6335579 w 6335579"/>
              <a:gd name="connsiteY2" fmla="*/ 10694193 h 10696575"/>
              <a:gd name="connsiteX3" fmla="*/ 0 w 6335579"/>
              <a:gd name="connsiteY3" fmla="*/ 10696575 h 10696575"/>
              <a:gd name="connsiteX4" fmla="*/ 5632914 w 6335579"/>
              <a:gd name="connsiteY4" fmla="*/ 0 h 106965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35579" h="10696575">
                <a:moveTo>
                  <a:pt x="5632914" y="0"/>
                </a:moveTo>
                <a:lnTo>
                  <a:pt x="6335579" y="2381"/>
                </a:lnTo>
                <a:cubicBezTo>
                  <a:pt x="6321291" y="5349478"/>
                  <a:pt x="6335579" y="5348287"/>
                  <a:pt x="6335579" y="10694193"/>
                </a:cubicBezTo>
                <a:lnTo>
                  <a:pt x="0" y="10696575"/>
                </a:lnTo>
                <a:lnTo>
                  <a:pt x="5632914" y="0"/>
                </a:lnTo>
                <a:close/>
              </a:path>
            </a:pathLst>
          </a:custGeom>
          <a:solidFill>
            <a:schemeClr val="bg1">
              <a:lumMod val="95000"/>
            </a:schemeClr>
          </a:solidFill>
          <a:ln>
            <a:noFill/>
          </a:ln>
        </p:spPr>
        <p:txBody>
          <a:bodyPr wrap="square" anchor="ctr" anchorCtr="1">
            <a:noAutofit/>
          </a:bodyPr>
          <a:lstStyle>
            <a:lvl1pPr algn="ctr">
              <a:defRPr>
                <a:solidFill>
                  <a:schemeClr val="tx1"/>
                </a:solidFill>
              </a:defRPr>
            </a:lvl1pPr>
          </a:lstStyle>
          <a:p>
            <a:r>
              <a:rPr lang="en-US" dirty="0"/>
              <a:t>Click icon to </a:t>
            </a:r>
            <a:br>
              <a:rPr lang="en-US" dirty="0"/>
            </a:br>
            <a:r>
              <a:rPr lang="en-US" dirty="0"/>
              <a:t>add picture</a:t>
            </a:r>
            <a:endParaRPr lang="en-GB" dirty="0"/>
          </a:p>
        </p:txBody>
      </p:sp>
      <p:sp>
        <p:nvSpPr>
          <p:cNvPr id="10" name="Freeform 9"/>
          <p:cNvSpPr/>
          <p:nvPr userDrawn="1"/>
        </p:nvSpPr>
        <p:spPr>
          <a:xfrm>
            <a:off x="0" y="0"/>
            <a:ext cx="6708775" cy="10693400"/>
          </a:xfrm>
          <a:custGeom>
            <a:avLst/>
            <a:gdLst>
              <a:gd name="connsiteX0" fmla="*/ 0 w 6708775"/>
              <a:gd name="connsiteY0" fmla="*/ 0 h 10693400"/>
              <a:gd name="connsiteX1" fmla="*/ 6708775 w 6708775"/>
              <a:gd name="connsiteY1" fmla="*/ 0 h 10693400"/>
              <a:gd name="connsiteX2" fmla="*/ 1045984 w 6708775"/>
              <a:gd name="connsiteY2" fmla="*/ 10693400 h 10693400"/>
              <a:gd name="connsiteX3" fmla="*/ 0 w 6708775"/>
              <a:gd name="connsiteY3" fmla="*/ 10693400 h 10693400"/>
              <a:gd name="connsiteX4" fmla="*/ 0 w 6708775"/>
              <a:gd name="connsiteY4" fmla="*/ 0 h 10693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8775" h="10693400">
                <a:moveTo>
                  <a:pt x="0" y="0"/>
                </a:moveTo>
                <a:lnTo>
                  <a:pt x="6708775" y="0"/>
                </a:lnTo>
                <a:lnTo>
                  <a:pt x="1045984" y="10693400"/>
                </a:lnTo>
                <a:lnTo>
                  <a:pt x="0" y="10693400"/>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GB" sz="1200" dirty="0">
              <a:solidFill>
                <a:schemeClr val="bg1"/>
              </a:solidFill>
            </a:endParaRPr>
          </a:p>
        </p:txBody>
      </p:sp>
      <p:graphicFrame>
        <p:nvGraphicFramePr>
          <p:cNvPr id="2" name="Object 1" hidden="1"/>
          <p:cNvGraphicFramePr>
            <a:graphicFrameLocks/>
          </p:cNvGraphicFramePr>
          <p:nvPr userDrawn="1">
            <p:custDataLst>
              <p:tags r:id="rId2"/>
            </p:custDataLst>
            <p:extLst>
              <p:ext uri="{D42A27DB-BD31-4B8C-83A1-F6EECF244321}">
                <p14:modId xmlns:p14="http://schemas.microsoft.com/office/powerpoint/2010/main" val="3842870328"/>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0" y="0"/>
                        <a:ext cx="112252" cy="224510"/>
                      </a:xfrm>
                      <a:prstGeom prst="rect">
                        <a:avLst/>
                      </a:prstGeom>
                    </p:spPr>
                  </p:pic>
                </p:oleObj>
              </mc:Fallback>
            </mc:AlternateContent>
          </a:graphicData>
        </a:graphic>
      </p:graphicFrame>
      <p:sp>
        <p:nvSpPr>
          <p:cNvPr id="3" name="Text Placeholder 2"/>
          <p:cNvSpPr>
            <a:spLocks noGrp="1"/>
          </p:cNvSpPr>
          <p:nvPr>
            <p:ph type="body" idx="1" hasCustomPrompt="1"/>
            <p:custDataLst>
              <p:tags r:id="rId3"/>
            </p:custDataLst>
          </p:nvPr>
        </p:nvSpPr>
        <p:spPr>
          <a:xfrm>
            <a:off x="701675" y="2934344"/>
            <a:ext cx="2479626" cy="304699"/>
          </a:xfrm>
          <a:prstGeom prst="rect">
            <a:avLst/>
          </a:prstGeom>
        </p:spPr>
        <p:txBody>
          <a:bodyPr vert="horz" wrap="square" lIns="0" tIns="0" rIns="0" bIns="0" rtlCol="0">
            <a:spAutoFit/>
          </a:bodyPr>
          <a:lstStyle>
            <a:lvl1pPr>
              <a:defRPr lang="en-US" sz="1800" i="1" smtClean="0">
                <a:solidFill>
                  <a:schemeClr val="bg1"/>
                </a:solidFill>
                <a:latin typeface="Georgia" panose="02040502050405020303" pitchFamily="18" charset="0"/>
              </a:defRPr>
            </a:lvl1pPr>
          </a:lstStyle>
          <a:p>
            <a:pPr lvl="0"/>
            <a:r>
              <a:rPr lang="en-US" dirty="0"/>
              <a:t>Call out message</a:t>
            </a:r>
          </a:p>
        </p:txBody>
      </p:sp>
      <p:sp>
        <p:nvSpPr>
          <p:cNvPr id="5" name="Text Placeholder 4"/>
          <p:cNvSpPr>
            <a:spLocks noGrp="1"/>
          </p:cNvSpPr>
          <p:nvPr>
            <p:ph type="body" sz="quarter" idx="10" hasCustomPrompt="1"/>
            <p:custDataLst>
              <p:tags r:id="rId4"/>
            </p:custDataLst>
          </p:nvPr>
        </p:nvSpPr>
        <p:spPr>
          <a:xfrm>
            <a:off x="701675" y="990089"/>
            <a:ext cx="4037013" cy="1231106"/>
          </a:xfrm>
          <a:prstGeom prst="rect">
            <a:avLst/>
          </a:prstGeom>
        </p:spPr>
        <p:txBody>
          <a:bodyPr wrap="square">
            <a:spAutoFit/>
          </a:bodyPr>
          <a:lstStyle>
            <a:lvl1pPr>
              <a:lnSpc>
                <a:spcPct val="80000"/>
              </a:lnSpc>
              <a:spcAft>
                <a:spcPts val="0"/>
              </a:spcAft>
              <a:defRPr sz="10000" b="0" i="1" baseline="0">
                <a:solidFill>
                  <a:schemeClr val="bg1"/>
                </a:solidFill>
                <a:latin typeface="Georgia" panose="02040502050405020303" pitchFamily="18" charset="0"/>
              </a:defRPr>
            </a:lvl1pPr>
          </a:lstStyle>
          <a:p>
            <a:pPr lvl="0"/>
            <a:r>
              <a:rPr lang="en-US" dirty="0"/>
              <a:t>##</a:t>
            </a:r>
          </a:p>
        </p:txBody>
      </p:sp>
    </p:spTree>
    <p:extLst>
      <p:ext uri="{BB962C8B-B14F-4D97-AF65-F5344CB8AC3E}">
        <p14:creationId xmlns:p14="http://schemas.microsoft.com/office/powerpoint/2010/main" val="34635686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Key Message One">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3884399" y="1817688"/>
            <a:ext cx="3029163" cy="7988712"/>
          </a:xfrm>
          <a:prstGeom prst="rect">
            <a:avLst/>
          </a:prstGeom>
          <a:solidFill>
            <a:schemeClr val="bg2"/>
          </a:solidFill>
        </p:spPr>
        <p:txBody>
          <a:bodyPr lIns="108000" tIns="72000" rIns="72000" bIns="72000">
            <a:noAutofit/>
          </a:bodyPr>
          <a:lstStyle>
            <a:lvl1pPr>
              <a:defRPr sz="1200" i="1">
                <a:solidFill>
                  <a:schemeClr val="bg1"/>
                </a:solidFill>
                <a:latin typeface="Georgia" panose="02040502050405020303" pitchFamily="18" charset="0"/>
              </a:defRPr>
            </a:lvl1pPr>
            <a:lvl2pPr>
              <a:defRPr sz="1200">
                <a:solidFill>
                  <a:schemeClr val="bg1"/>
                </a:solidFill>
                <a:latin typeface="+mn-lt"/>
              </a:defRPr>
            </a:lvl2pPr>
            <a:lvl3pPr>
              <a:defRPr sz="1200">
                <a:solidFill>
                  <a:schemeClr val="bg1"/>
                </a:solidFill>
                <a:latin typeface="+mn-lt"/>
              </a:defRPr>
            </a:lvl3pPr>
            <a:lvl4pPr>
              <a:defRPr sz="1200">
                <a:solidFill>
                  <a:schemeClr val="bg1"/>
                </a:solidFill>
                <a:latin typeface="+mn-lt"/>
              </a:defRPr>
            </a:lvl4pPr>
            <a:lvl5pPr>
              <a:defRPr sz="1200">
                <a:solidFill>
                  <a:schemeClr val="bg1"/>
                </a:solidFill>
                <a:latin typeface="+mn-lt"/>
              </a:defRPr>
            </a:lvl5pPr>
          </a:lstStyle>
          <a:p>
            <a:pPr lvl="0"/>
            <a:r>
              <a:rPr lang="en-US"/>
              <a:t>Click to edit Master text styles</a:t>
            </a:r>
          </a:p>
        </p:txBody>
      </p:sp>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10" name="Text Placeholder 4"/>
          <p:cNvSpPr>
            <a:spLocks noGrp="1"/>
          </p:cNvSpPr>
          <p:nvPr>
            <p:ph type="body" sz="quarter" idx="11"/>
          </p:nvPr>
        </p:nvSpPr>
        <p:spPr>
          <a:xfrm>
            <a:off x="684000" y="1817689"/>
            <a:ext cx="2987888" cy="1170474"/>
          </a:xfrm>
          <a:prstGeom prst="rect">
            <a:avLst/>
          </a:prstGeo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9"/>
          <p:cNvSpPr>
            <a:spLocks noGrp="1"/>
          </p:cNvSpPr>
          <p:nvPr>
            <p:ph type="body" sz="quarter" idx="14" hasCustomPrompt="1"/>
            <p:custDataLst>
              <p:tags r:id="rId1"/>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4124890496"/>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ey Message Two">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898255" y="1817688"/>
            <a:ext cx="3015308" cy="8002567"/>
          </a:xfrm>
          <a:prstGeom prst="rect">
            <a:avLst/>
          </a:prstGeom>
          <a:noFill/>
        </p:spPr>
        <p:txBody>
          <a:bodyPr lIns="0" tIns="0" rIns="0" bIns="0">
            <a:noAutofit/>
          </a:bodyPr>
          <a:lstStyle>
            <a:lvl1pPr>
              <a:defRPr sz="3200" i="1" baseline="0">
                <a:solidFill>
                  <a:schemeClr val="tx2"/>
                </a:solidFill>
                <a:latin typeface="Georgia" panose="02040502050405020303" pitchFamily="18" charset="0"/>
              </a:defRPr>
            </a:lvl1pPr>
            <a:lvl2pPr>
              <a:defRPr sz="1100" i="1" baseline="0">
                <a:solidFill>
                  <a:schemeClr val="tx2"/>
                </a:solidFill>
                <a:latin typeface="Georgia" panose="02040502050405020303" pitchFamily="18" charset="0"/>
              </a:defRPr>
            </a:lvl2pPr>
            <a:lvl3pPr>
              <a:defRPr sz="1200">
                <a:solidFill>
                  <a:schemeClr val="bg1"/>
                </a:solidFill>
                <a:latin typeface="+mn-lt"/>
              </a:defRPr>
            </a:lvl3pPr>
            <a:lvl4pPr>
              <a:defRPr sz="1200">
                <a:solidFill>
                  <a:schemeClr val="bg1"/>
                </a:solidFill>
                <a:latin typeface="+mn-lt"/>
              </a:defRPr>
            </a:lvl4pPr>
            <a:lvl5pPr>
              <a:defRPr sz="1200">
                <a:solidFill>
                  <a:schemeClr val="bg1"/>
                </a:solidFill>
                <a:latin typeface="+mn-lt"/>
              </a:defRPr>
            </a:lvl5pPr>
          </a:lstStyle>
          <a:p>
            <a:pPr lvl="0"/>
            <a:r>
              <a:rPr lang="en-US" dirty="0"/>
              <a:t>Pulled Quote</a:t>
            </a:r>
            <a:br>
              <a:rPr lang="en-US" dirty="0"/>
            </a:br>
            <a:r>
              <a:rPr lang="en-US" dirty="0"/>
              <a:t>Number</a:t>
            </a:r>
          </a:p>
          <a:p>
            <a:pPr lvl="1"/>
            <a:r>
              <a:rPr lang="en-US" sz="1100" dirty="0">
                <a:latin typeface="Georgia" panose="02040502050405020303" pitchFamily="18" charset="0"/>
              </a:rPr>
              <a:t>Key message information</a:t>
            </a:r>
            <a:endParaRPr lang="en-US" dirty="0"/>
          </a:p>
        </p:txBody>
      </p:sp>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6" name="Text Placeholder 4"/>
          <p:cNvSpPr>
            <a:spLocks noGrp="1"/>
          </p:cNvSpPr>
          <p:nvPr>
            <p:ph type="body" sz="quarter" idx="11"/>
          </p:nvPr>
        </p:nvSpPr>
        <p:spPr>
          <a:xfrm>
            <a:off x="684000" y="1817689"/>
            <a:ext cx="2987888" cy="1170474"/>
          </a:xfrm>
          <a:prstGeom prst="rect">
            <a:avLst/>
          </a:prstGeo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4" hasCustomPrompt="1"/>
            <p:custDataLst>
              <p:tags r:id="rId1"/>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40671167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Two">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p:cNvGraphicFramePr>
          <p:nvPr userDrawn="1">
            <p:custDataLst>
              <p:tags r:id="rId1"/>
            </p:custDataLst>
            <p:extLst>
              <p:ext uri="{D42A27DB-BD31-4B8C-83A1-F6EECF244321}">
                <p14:modId xmlns:p14="http://schemas.microsoft.com/office/powerpoint/2010/main" val="347239731"/>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5" name="Object 4" hidden="1"/>
                      <p:cNvPicPr/>
                      <p:nvPr/>
                    </p:nvPicPr>
                    <p:blipFill>
                      <a:blip r:embed="rId7"/>
                      <a:stretch>
                        <a:fillRect/>
                      </a:stretch>
                    </p:blipFill>
                    <p:spPr>
                      <a:xfrm>
                        <a:off x="0" y="0"/>
                        <a:ext cx="112252" cy="224510"/>
                      </a:xfrm>
                      <a:prstGeom prst="rect">
                        <a:avLst/>
                      </a:prstGeom>
                    </p:spPr>
                  </p:pic>
                </p:oleObj>
              </mc:Fallback>
            </mc:AlternateContent>
          </a:graphicData>
        </a:graphic>
      </p:graphicFrame>
      <p:pic>
        <p:nvPicPr>
          <p:cNvPr id="9" name="Picture Placeholder 36"/>
          <p:cNvPicPr>
            <a:picLocks noChangeAspect="1"/>
          </p:cNvPicPr>
          <p:nvPr userDrawn="1">
            <p:custDataLst>
              <p:tags r:id="rId2"/>
            </p:custDataLst>
          </p:nvPr>
        </p:nvPicPr>
        <p:blipFill rotWithShape="1">
          <a:blip r:embed="rId8" cstate="screen">
            <a:extLst>
              <a:ext uri="{28A0092B-C50C-407E-A947-70E740481C1C}">
                <a14:useLocalDpi xmlns:a14="http://schemas.microsoft.com/office/drawing/2010/main"/>
              </a:ext>
            </a:extLst>
          </a:blip>
          <a:srcRect l="4069" t="8935" r="51913" b="7972"/>
          <a:stretch/>
        </p:blipFill>
        <p:spPr>
          <a:xfrm flipH="1">
            <a:off x="988" y="0"/>
            <a:ext cx="7560273" cy="10690171"/>
          </a:xfrm>
          <a:prstGeom prst="rect">
            <a:avLst/>
          </a:prstGeom>
          <a:noFill/>
          <a:ln>
            <a:noFill/>
          </a:ln>
        </p:spPr>
      </p:pic>
      <p:sp>
        <p:nvSpPr>
          <p:cNvPr id="7" name="Freeform 295"/>
          <p:cNvSpPr>
            <a:spLocks/>
          </p:cNvSpPr>
          <p:nvPr userDrawn="1"/>
        </p:nvSpPr>
        <p:spPr bwMode="auto">
          <a:xfrm>
            <a:off x="0" y="1833564"/>
            <a:ext cx="5661025" cy="8858250"/>
          </a:xfrm>
          <a:custGeom>
            <a:avLst/>
            <a:gdLst>
              <a:gd name="T0" fmla="*/ 593 w 3566"/>
              <a:gd name="T1" fmla="*/ 5580 h 5580"/>
              <a:gd name="T2" fmla="*/ 3566 w 3566"/>
              <a:gd name="T3" fmla="*/ 0 h 5580"/>
              <a:gd name="T4" fmla="*/ 0 w 3566"/>
              <a:gd name="T5" fmla="*/ 0 h 5580"/>
              <a:gd name="T6" fmla="*/ 0 w 3566"/>
              <a:gd name="T7" fmla="*/ 5580 h 5580"/>
              <a:gd name="T8" fmla="*/ 593 w 3566"/>
              <a:gd name="T9" fmla="*/ 5580 h 5580"/>
            </a:gdLst>
            <a:ahLst/>
            <a:cxnLst>
              <a:cxn ang="0">
                <a:pos x="T0" y="T1"/>
              </a:cxn>
              <a:cxn ang="0">
                <a:pos x="T2" y="T3"/>
              </a:cxn>
              <a:cxn ang="0">
                <a:pos x="T4" y="T5"/>
              </a:cxn>
              <a:cxn ang="0">
                <a:pos x="T6" y="T7"/>
              </a:cxn>
              <a:cxn ang="0">
                <a:pos x="T8" y="T9"/>
              </a:cxn>
            </a:cxnLst>
            <a:rect l="0" t="0" r="r" b="b"/>
            <a:pathLst>
              <a:path w="3566" h="5580">
                <a:moveTo>
                  <a:pt x="593" y="5580"/>
                </a:moveTo>
                <a:lnTo>
                  <a:pt x="3566" y="0"/>
                </a:lnTo>
                <a:lnTo>
                  <a:pt x="0" y="0"/>
                </a:lnTo>
                <a:lnTo>
                  <a:pt x="0" y="5580"/>
                </a:lnTo>
                <a:lnTo>
                  <a:pt x="593" y="5580"/>
                </a:lnTo>
                <a:close/>
              </a:path>
            </a:pathLst>
          </a:custGeom>
          <a:solidFill>
            <a:srgbClr val="E30C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Text Placeholder 13"/>
          <p:cNvSpPr>
            <a:spLocks noGrp="1"/>
          </p:cNvSpPr>
          <p:nvPr>
            <p:ph type="body" sz="quarter" idx="11" hasCustomPrompt="1"/>
            <p:custDataLst>
              <p:tags r:id="rId3"/>
            </p:custDataLst>
          </p:nvPr>
        </p:nvSpPr>
        <p:spPr>
          <a:xfrm>
            <a:off x="687102" y="2342731"/>
            <a:ext cx="4037013" cy="2175980"/>
          </a:xfrm>
          <a:prstGeom prst="rect">
            <a:avLst/>
          </a:prstGeom>
          <a:noFill/>
        </p:spPr>
        <p:txBody>
          <a:bodyPr/>
          <a:lstStyle>
            <a:lvl1pPr>
              <a:lnSpc>
                <a:spcPct val="100000"/>
              </a:lnSpc>
              <a:spcAft>
                <a:spcPts val="600"/>
              </a:spcAft>
              <a:defRPr sz="3200" b="0" baseline="0">
                <a:solidFill>
                  <a:schemeClr val="bg1"/>
                </a:solidFill>
              </a:defRPr>
            </a:lvl1pPr>
            <a:lvl2pPr>
              <a:spcBef>
                <a:spcPts val="0"/>
              </a:spcBef>
              <a:spcAft>
                <a:spcPts val="3600"/>
              </a:spcAft>
              <a:defRPr sz="1200" b="1" baseline="0">
                <a:solidFill>
                  <a:schemeClr val="bg1"/>
                </a:solidFill>
              </a:defRPr>
            </a:lvl2pPr>
            <a:lvl3pPr marL="0" indent="0">
              <a:buNone/>
              <a:defRPr sz="1000" b="0">
                <a:solidFill>
                  <a:schemeClr val="bg1"/>
                </a:solidFill>
              </a:defRPr>
            </a:lvl3pPr>
            <a:lvl4pPr marL="0" indent="0">
              <a:buNone/>
              <a:defRPr sz="1200" b="1" baseline="0">
                <a:solidFill>
                  <a:schemeClr val="bg1"/>
                </a:solidFill>
              </a:defRPr>
            </a:lvl4pPr>
            <a:lvl5pPr>
              <a:defRPr>
                <a:solidFill>
                  <a:schemeClr val="bg1"/>
                </a:solidFill>
              </a:defRPr>
            </a:lvl5pPr>
          </a:lstStyle>
          <a:p>
            <a:pPr lvl="0"/>
            <a:r>
              <a:rPr lang="en-US" dirty="0"/>
              <a:t>Presentation title here</a:t>
            </a:r>
          </a:p>
          <a:p>
            <a:pPr lvl="1"/>
            <a:r>
              <a:rPr lang="en-US" dirty="0"/>
              <a:t>Optional date</a:t>
            </a:r>
          </a:p>
          <a:p>
            <a:pPr lvl="2"/>
            <a:r>
              <a:rPr lang="en-US" dirty="0"/>
              <a:t>Prepared for</a:t>
            </a:r>
          </a:p>
          <a:p>
            <a:pPr lvl="3"/>
            <a:r>
              <a:rPr lang="en-US" dirty="0"/>
              <a:t>Client/Company name</a:t>
            </a:r>
            <a:endParaRPr lang="en-NZ" dirty="0"/>
          </a:p>
        </p:txBody>
      </p:sp>
      <p:sp>
        <p:nvSpPr>
          <p:cNvPr id="15" name="Picture Placeholder 14"/>
          <p:cNvSpPr>
            <a:spLocks noGrp="1"/>
          </p:cNvSpPr>
          <p:nvPr>
            <p:ph type="pic" sz="quarter" idx="10" hasCustomPrompt="1"/>
            <p:custDataLst>
              <p:tags r:id="rId4"/>
            </p:custDataLst>
          </p:nvPr>
        </p:nvSpPr>
        <p:spPr>
          <a:xfrm>
            <a:off x="5393282" y="535116"/>
            <a:ext cx="1515396" cy="763333"/>
          </a:xfrm>
          <a:prstGeom prst="rect">
            <a:avLst/>
          </a:prstGeom>
        </p:spPr>
        <p:txBody>
          <a:bodyPr anchor="ctr" anchorCtr="1">
            <a:noAutofit/>
          </a:bodyPr>
          <a:lstStyle>
            <a:lvl1pPr>
              <a:defRPr>
                <a:solidFill>
                  <a:schemeClr val="tx1"/>
                </a:solidFill>
              </a:defRPr>
            </a:lvl1pPr>
          </a:lstStyle>
          <a:p>
            <a:r>
              <a:rPr lang="en-GB" dirty="0"/>
              <a:t>Client logo</a:t>
            </a:r>
          </a:p>
        </p:txBody>
      </p:sp>
      <p:pic>
        <p:nvPicPr>
          <p:cNvPr id="8" name="Picture 7"/>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87102" y="562209"/>
            <a:ext cx="2165429" cy="591034"/>
          </a:xfrm>
          <a:prstGeom prst="rect">
            <a:avLst/>
          </a:prstGeom>
        </p:spPr>
      </p:pic>
    </p:spTree>
    <p:extLst>
      <p:ext uri="{BB962C8B-B14F-4D97-AF65-F5344CB8AC3E}">
        <p14:creationId xmlns:p14="http://schemas.microsoft.com/office/powerpoint/2010/main" val="37649021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One Column with Edge On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1"/>
            </p:custDataLst>
            <p:extLst>
              <p:ext uri="{D42A27DB-BD31-4B8C-83A1-F6EECF244321}">
                <p14:modId xmlns:p14="http://schemas.microsoft.com/office/powerpoint/2010/main" val="614577367"/>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0" y="0"/>
                        <a:ext cx="112252" cy="224510"/>
                      </a:xfrm>
                      <a:prstGeom prst="rect">
                        <a:avLst/>
                      </a:prstGeom>
                    </p:spPr>
                  </p:pic>
                </p:oleObj>
              </mc:Fallback>
            </mc:AlternateContent>
          </a:graphicData>
        </a:graphic>
      </p:graphicFrame>
      <p:sp>
        <p:nvSpPr>
          <p:cNvPr id="15" name="Subtitle 2"/>
          <p:cNvSpPr>
            <a:spLocks noGrp="1"/>
          </p:cNvSpPr>
          <p:nvPr>
            <p:ph type="subTitle" idx="1" hasCustomPrompt="1"/>
            <p:custDataLst>
              <p:tags r:id="rId2"/>
            </p:custDataLst>
          </p:nvPr>
        </p:nvSpPr>
        <p:spPr>
          <a:xfrm>
            <a:off x="684000" y="1817688"/>
            <a:ext cx="2977200" cy="234833"/>
          </a:xfrm>
          <a:prstGeom prst="rect">
            <a:avLst/>
          </a:prstGeom>
        </p:spPr>
        <p:txBody>
          <a:bodyPr/>
          <a:lstStyle>
            <a:lvl1pPr marL="0" marR="0" indent="0" algn="l" defTabSz="995690" rtl="0" eaLnBrk="1" fontAlgn="auto" latinLnBrk="0" hangingPunct="1">
              <a:lnSpc>
                <a:spcPct val="100000"/>
              </a:lnSpc>
              <a:spcBef>
                <a:spcPts val="0"/>
              </a:spcBef>
              <a:spcAft>
                <a:spcPts val="600"/>
              </a:spcAft>
              <a:buClrTx/>
              <a:buSzTx/>
              <a:buFont typeface="Arial" panose="020B0604020202020204" pitchFamily="34" charset="0"/>
              <a:buNone/>
              <a:tabLst/>
              <a:defRPr sz="1200" b="0">
                <a:solidFill>
                  <a:schemeClr val="tx1"/>
                </a:solidFill>
              </a:defRPr>
            </a:lvl1pPr>
            <a:lvl2pPr marL="497845" indent="0" algn="ctr">
              <a:buNone/>
              <a:defRPr>
                <a:solidFill>
                  <a:schemeClr val="tx1">
                    <a:tint val="75000"/>
                  </a:schemeClr>
                </a:solidFill>
              </a:defRPr>
            </a:lvl2pPr>
            <a:lvl3pPr marL="995690" indent="0" algn="ctr">
              <a:buNone/>
              <a:defRPr>
                <a:solidFill>
                  <a:schemeClr val="tx1">
                    <a:tint val="75000"/>
                  </a:schemeClr>
                </a:solidFill>
              </a:defRPr>
            </a:lvl3pPr>
            <a:lvl4pPr marL="1493535" indent="0" algn="ctr">
              <a:buNone/>
              <a:defRPr>
                <a:solidFill>
                  <a:schemeClr val="tx1">
                    <a:tint val="75000"/>
                  </a:schemeClr>
                </a:solidFill>
              </a:defRPr>
            </a:lvl4pPr>
            <a:lvl5pPr marL="1991380" indent="0" algn="ctr">
              <a:buNone/>
              <a:defRPr>
                <a:solidFill>
                  <a:schemeClr val="tx1">
                    <a:tint val="75000"/>
                  </a:schemeClr>
                </a:solidFill>
              </a:defRPr>
            </a:lvl5pPr>
            <a:lvl6pPr marL="2489225" indent="0" algn="ctr">
              <a:buNone/>
              <a:defRPr>
                <a:solidFill>
                  <a:schemeClr val="tx1">
                    <a:tint val="75000"/>
                  </a:schemeClr>
                </a:solidFill>
              </a:defRPr>
            </a:lvl6pPr>
            <a:lvl7pPr marL="2987070" indent="0" algn="ctr">
              <a:buNone/>
              <a:defRPr>
                <a:solidFill>
                  <a:schemeClr val="tx1">
                    <a:tint val="75000"/>
                  </a:schemeClr>
                </a:solidFill>
              </a:defRPr>
            </a:lvl7pPr>
            <a:lvl8pPr marL="3484916" indent="0" algn="ctr">
              <a:buNone/>
              <a:defRPr>
                <a:solidFill>
                  <a:schemeClr val="tx1">
                    <a:tint val="75000"/>
                  </a:schemeClr>
                </a:solidFill>
              </a:defRPr>
            </a:lvl8pPr>
            <a:lvl9pPr marL="3982761" indent="0" algn="ctr">
              <a:buNone/>
              <a:defRPr>
                <a:solidFill>
                  <a:schemeClr val="tx1">
                    <a:tint val="75000"/>
                  </a:schemeClr>
                </a:solidFill>
              </a:defRPr>
            </a:lvl9pPr>
          </a:lstStyle>
          <a:p>
            <a:r>
              <a:rPr lang="en-US" dirty="0"/>
              <a:t>Click to edit sub-title</a:t>
            </a:r>
          </a:p>
        </p:txBody>
      </p:sp>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8" name="Picture Placeholder 18"/>
          <p:cNvSpPr>
            <a:spLocks noGrp="1"/>
          </p:cNvSpPr>
          <p:nvPr>
            <p:ph type="pic" sz="quarter" idx="12"/>
          </p:nvPr>
        </p:nvSpPr>
        <p:spPr>
          <a:xfrm>
            <a:off x="1830388" y="1829783"/>
            <a:ext cx="5737168" cy="8863617"/>
          </a:xfrm>
          <a:custGeom>
            <a:avLst/>
            <a:gdLst>
              <a:gd name="connsiteX0" fmla="*/ 3994306 w 6600646"/>
              <a:gd name="connsiteY0" fmla="*/ 0 h 7578726"/>
              <a:gd name="connsiteX1" fmla="*/ 6600646 w 6600646"/>
              <a:gd name="connsiteY1" fmla="*/ 0 h 7578726"/>
              <a:gd name="connsiteX2" fmla="*/ 6600646 w 6600646"/>
              <a:gd name="connsiteY2" fmla="*/ 7578726 h 7578726"/>
              <a:gd name="connsiteX3" fmla="*/ 0 w 6600646"/>
              <a:gd name="connsiteY3" fmla="*/ 7578726 h 7578726"/>
              <a:gd name="connsiteX0" fmla="*/ 3994306 w 6600646"/>
              <a:gd name="connsiteY0" fmla="*/ 0 h 7578726"/>
              <a:gd name="connsiteX1" fmla="*/ 3952696 w 6600646"/>
              <a:gd name="connsiteY1" fmla="*/ 38100 h 7578726"/>
              <a:gd name="connsiteX2" fmla="*/ 6600646 w 6600646"/>
              <a:gd name="connsiteY2" fmla="*/ 7578726 h 7578726"/>
              <a:gd name="connsiteX3" fmla="*/ 0 w 6600646"/>
              <a:gd name="connsiteY3" fmla="*/ 7578726 h 7578726"/>
              <a:gd name="connsiteX4" fmla="*/ 3994306 w 6600646"/>
              <a:gd name="connsiteY4" fmla="*/ 0 h 7578726"/>
              <a:gd name="connsiteX0" fmla="*/ 3994306 w 3994306"/>
              <a:gd name="connsiteY0" fmla="*/ 0 h 7607301"/>
              <a:gd name="connsiteX1" fmla="*/ 3952696 w 3994306"/>
              <a:gd name="connsiteY1" fmla="*/ 38100 h 7607301"/>
              <a:gd name="connsiteX2" fmla="*/ 3952696 w 3994306"/>
              <a:gd name="connsiteY2" fmla="*/ 7607301 h 7607301"/>
              <a:gd name="connsiteX3" fmla="*/ 0 w 3994306"/>
              <a:gd name="connsiteY3" fmla="*/ 7578726 h 7607301"/>
              <a:gd name="connsiteX4" fmla="*/ 3994306 w 3994306"/>
              <a:gd name="connsiteY4" fmla="*/ 0 h 7607301"/>
              <a:gd name="connsiteX0" fmla="*/ 3953031 w 3953031"/>
              <a:gd name="connsiteY0" fmla="*/ 0 h 7581901"/>
              <a:gd name="connsiteX1" fmla="*/ 3952696 w 3953031"/>
              <a:gd name="connsiteY1" fmla="*/ 12700 h 7581901"/>
              <a:gd name="connsiteX2" fmla="*/ 3952696 w 3953031"/>
              <a:gd name="connsiteY2" fmla="*/ 7581901 h 7581901"/>
              <a:gd name="connsiteX3" fmla="*/ 0 w 3953031"/>
              <a:gd name="connsiteY3" fmla="*/ 7553326 h 7581901"/>
              <a:gd name="connsiteX4" fmla="*/ 3953031 w 3953031"/>
              <a:gd name="connsiteY4" fmla="*/ 0 h 7581901"/>
              <a:gd name="connsiteX0" fmla="*/ 3953031 w 3953031"/>
              <a:gd name="connsiteY0" fmla="*/ 0 h 7600951"/>
              <a:gd name="connsiteX1" fmla="*/ 3952696 w 3953031"/>
              <a:gd name="connsiteY1" fmla="*/ 31750 h 7600951"/>
              <a:gd name="connsiteX2" fmla="*/ 3952696 w 3953031"/>
              <a:gd name="connsiteY2" fmla="*/ 7600951 h 7600951"/>
              <a:gd name="connsiteX3" fmla="*/ 0 w 3953031"/>
              <a:gd name="connsiteY3" fmla="*/ 7572376 h 7600951"/>
              <a:gd name="connsiteX4" fmla="*/ 3953031 w 3953031"/>
              <a:gd name="connsiteY4"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0 w 3987956"/>
              <a:gd name="connsiteY3" fmla="*/ 7572376 h 7600951"/>
              <a:gd name="connsiteX4" fmla="*/ 3987956 w 3987956"/>
              <a:gd name="connsiteY4"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0 w 3987956"/>
              <a:gd name="connsiteY3" fmla="*/ 7572376 h 7600951"/>
              <a:gd name="connsiteX4" fmla="*/ 3921657 w 3987956"/>
              <a:gd name="connsiteY4" fmla="*/ 127762 h 7600951"/>
              <a:gd name="connsiteX5" fmla="*/ 3987956 w 3987956"/>
              <a:gd name="connsiteY5"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3921657 w 3987956"/>
              <a:gd name="connsiteY3" fmla="*/ 7596950 h 7600951"/>
              <a:gd name="connsiteX4" fmla="*/ 0 w 3987956"/>
              <a:gd name="connsiteY4" fmla="*/ 7572376 h 7600951"/>
              <a:gd name="connsiteX5" fmla="*/ 3921657 w 3987956"/>
              <a:gd name="connsiteY5" fmla="*/ 127762 h 7600951"/>
              <a:gd name="connsiteX6" fmla="*/ 3987956 w 3987956"/>
              <a:gd name="connsiteY6"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3921657 w 3987956"/>
              <a:gd name="connsiteY3" fmla="*/ 7596950 h 7600951"/>
              <a:gd name="connsiteX4" fmla="*/ 0 w 3987956"/>
              <a:gd name="connsiteY4" fmla="*/ 7572376 h 7600951"/>
              <a:gd name="connsiteX5" fmla="*/ 3921657 w 3987956"/>
              <a:gd name="connsiteY5" fmla="*/ 127762 h 7600951"/>
              <a:gd name="connsiteX6" fmla="*/ 3987956 w 3987956"/>
              <a:gd name="connsiteY6" fmla="*/ 0 h 7600951"/>
              <a:gd name="connsiteX0" fmla="*/ 3987956 w 3987956"/>
              <a:gd name="connsiteY0" fmla="*/ 0 h 7596950"/>
              <a:gd name="connsiteX1" fmla="*/ 3987621 w 3987956"/>
              <a:gd name="connsiteY1" fmla="*/ 31750 h 7596950"/>
              <a:gd name="connsiteX2" fmla="*/ 3921657 w 3987956"/>
              <a:gd name="connsiteY2" fmla="*/ 7596950 h 7596950"/>
              <a:gd name="connsiteX3" fmla="*/ 0 w 3987956"/>
              <a:gd name="connsiteY3" fmla="*/ 7572376 h 7596950"/>
              <a:gd name="connsiteX4" fmla="*/ 3921657 w 3987956"/>
              <a:gd name="connsiteY4" fmla="*/ 127762 h 7596950"/>
              <a:gd name="connsiteX5" fmla="*/ 3987956 w 3987956"/>
              <a:gd name="connsiteY5" fmla="*/ 0 h 7596950"/>
              <a:gd name="connsiteX0" fmla="*/ 3921657 w 3987621"/>
              <a:gd name="connsiteY0" fmla="*/ 96012 h 7565200"/>
              <a:gd name="connsiteX1" fmla="*/ 3987621 w 3987621"/>
              <a:gd name="connsiteY1" fmla="*/ 0 h 7565200"/>
              <a:gd name="connsiteX2" fmla="*/ 3921657 w 3987621"/>
              <a:gd name="connsiteY2" fmla="*/ 7565200 h 7565200"/>
              <a:gd name="connsiteX3" fmla="*/ 0 w 3987621"/>
              <a:gd name="connsiteY3" fmla="*/ 7540626 h 7565200"/>
              <a:gd name="connsiteX4" fmla="*/ 3921657 w 3987621"/>
              <a:gd name="connsiteY4" fmla="*/ 96012 h 7565200"/>
              <a:gd name="connsiteX0" fmla="*/ 3921657 w 3921657"/>
              <a:gd name="connsiteY0" fmla="*/ 0 h 7469188"/>
              <a:gd name="connsiteX1" fmla="*/ 3921657 w 3921657"/>
              <a:gd name="connsiteY1" fmla="*/ 7469188 h 7469188"/>
              <a:gd name="connsiteX2" fmla="*/ 0 w 3921657"/>
              <a:gd name="connsiteY2" fmla="*/ 7444614 h 7469188"/>
              <a:gd name="connsiteX3" fmla="*/ 3921657 w 3921657"/>
              <a:gd name="connsiteY3" fmla="*/ 0 h 7469188"/>
              <a:gd name="connsiteX0" fmla="*/ 3945470 w 3945470"/>
              <a:gd name="connsiteY0" fmla="*/ 0 h 7473189"/>
              <a:gd name="connsiteX1" fmla="*/ 3945470 w 3945470"/>
              <a:gd name="connsiteY1" fmla="*/ 7469188 h 7473189"/>
              <a:gd name="connsiteX2" fmla="*/ 0 w 3945470"/>
              <a:gd name="connsiteY2" fmla="*/ 7473189 h 7473189"/>
              <a:gd name="connsiteX3" fmla="*/ 3945470 w 3945470"/>
              <a:gd name="connsiteY3" fmla="*/ 0 h 7473189"/>
              <a:gd name="connsiteX0" fmla="*/ 3945470 w 5550433"/>
              <a:gd name="connsiteY0" fmla="*/ 0 h 7473950"/>
              <a:gd name="connsiteX1" fmla="*/ 5550433 w 5550433"/>
              <a:gd name="connsiteY1" fmla="*/ 7473950 h 7473950"/>
              <a:gd name="connsiteX2" fmla="*/ 0 w 5550433"/>
              <a:gd name="connsiteY2" fmla="*/ 7473189 h 7473950"/>
              <a:gd name="connsiteX3" fmla="*/ 3945470 w 5550433"/>
              <a:gd name="connsiteY3" fmla="*/ 0 h 7473950"/>
              <a:gd name="connsiteX0" fmla="*/ 3974045 w 5550433"/>
              <a:gd name="connsiteY0" fmla="*/ 0 h 7554913"/>
              <a:gd name="connsiteX1" fmla="*/ 5550433 w 5550433"/>
              <a:gd name="connsiteY1" fmla="*/ 7554913 h 7554913"/>
              <a:gd name="connsiteX2" fmla="*/ 0 w 5550433"/>
              <a:gd name="connsiteY2" fmla="*/ 7554152 h 7554913"/>
              <a:gd name="connsiteX3" fmla="*/ 3974045 w 5550433"/>
              <a:gd name="connsiteY3" fmla="*/ 0 h 7554913"/>
              <a:gd name="connsiteX0" fmla="*/ 3974045 w 5550433"/>
              <a:gd name="connsiteY0" fmla="*/ 0 h 7554913"/>
              <a:gd name="connsiteX1" fmla="*/ 4112754 w 5550433"/>
              <a:gd name="connsiteY1" fmla="*/ 646113 h 7554913"/>
              <a:gd name="connsiteX2" fmla="*/ 5550433 w 5550433"/>
              <a:gd name="connsiteY2" fmla="*/ 7554913 h 7554913"/>
              <a:gd name="connsiteX3" fmla="*/ 0 w 5550433"/>
              <a:gd name="connsiteY3" fmla="*/ 7554152 h 7554913"/>
              <a:gd name="connsiteX4" fmla="*/ 3974045 w 5550433"/>
              <a:gd name="connsiteY4" fmla="*/ 0 h 7554913"/>
              <a:gd name="connsiteX0" fmla="*/ 3974045 w 5550433"/>
              <a:gd name="connsiteY0" fmla="*/ 0 h 7554913"/>
              <a:gd name="connsiteX1" fmla="*/ 4112754 w 5550433"/>
              <a:gd name="connsiteY1" fmla="*/ 646113 h 7554913"/>
              <a:gd name="connsiteX2" fmla="*/ 5550433 w 5550433"/>
              <a:gd name="connsiteY2" fmla="*/ 7554913 h 7554913"/>
              <a:gd name="connsiteX3" fmla="*/ 0 w 5550433"/>
              <a:gd name="connsiteY3" fmla="*/ 7554152 h 7554913"/>
              <a:gd name="connsiteX4" fmla="*/ 3974045 w 5550433"/>
              <a:gd name="connsiteY4" fmla="*/ 0 h 7554913"/>
              <a:gd name="connsiteX0" fmla="*/ 3974045 w 5551029"/>
              <a:gd name="connsiteY0" fmla="*/ 15875 h 7570788"/>
              <a:gd name="connsiteX1" fmla="*/ 5551029 w 5551029"/>
              <a:gd name="connsiteY1" fmla="*/ 0 h 7570788"/>
              <a:gd name="connsiteX2" fmla="*/ 5550433 w 5551029"/>
              <a:gd name="connsiteY2" fmla="*/ 7570788 h 7570788"/>
              <a:gd name="connsiteX3" fmla="*/ 0 w 5551029"/>
              <a:gd name="connsiteY3" fmla="*/ 7570027 h 7570788"/>
              <a:gd name="connsiteX4" fmla="*/ 3974045 w 5551029"/>
              <a:gd name="connsiteY4" fmla="*/ 15875 h 7570788"/>
              <a:gd name="connsiteX0" fmla="*/ 3974045 w 5550434"/>
              <a:gd name="connsiteY0" fmla="*/ 15875 h 7570788"/>
              <a:gd name="connsiteX1" fmla="*/ 5525629 w 5550434"/>
              <a:gd name="connsiteY1" fmla="*/ 0 h 7570788"/>
              <a:gd name="connsiteX2" fmla="*/ 5550433 w 5550434"/>
              <a:gd name="connsiteY2" fmla="*/ 7570788 h 7570788"/>
              <a:gd name="connsiteX3" fmla="*/ 0 w 5550434"/>
              <a:gd name="connsiteY3" fmla="*/ 7570027 h 7570788"/>
              <a:gd name="connsiteX4" fmla="*/ 3974045 w 5550434"/>
              <a:gd name="connsiteY4" fmla="*/ 15875 h 7570788"/>
              <a:gd name="connsiteX0" fmla="*/ 3980395 w 5550434"/>
              <a:gd name="connsiteY0" fmla="*/ 3175 h 7570788"/>
              <a:gd name="connsiteX1" fmla="*/ 5525629 w 5550434"/>
              <a:gd name="connsiteY1" fmla="*/ 0 h 7570788"/>
              <a:gd name="connsiteX2" fmla="*/ 5550433 w 5550434"/>
              <a:gd name="connsiteY2" fmla="*/ 7570788 h 7570788"/>
              <a:gd name="connsiteX3" fmla="*/ 0 w 5550434"/>
              <a:gd name="connsiteY3" fmla="*/ 7570027 h 7570788"/>
              <a:gd name="connsiteX4" fmla="*/ 3980395 w 5550434"/>
              <a:gd name="connsiteY4" fmla="*/ 3175 h 7570788"/>
              <a:gd name="connsiteX0" fmla="*/ 3980395 w 5525629"/>
              <a:gd name="connsiteY0" fmla="*/ 3175 h 7570788"/>
              <a:gd name="connsiteX1" fmla="*/ 5525629 w 5525629"/>
              <a:gd name="connsiteY1" fmla="*/ 0 h 7570788"/>
              <a:gd name="connsiteX2" fmla="*/ 5525033 w 5525629"/>
              <a:gd name="connsiteY2" fmla="*/ 7570788 h 7570788"/>
              <a:gd name="connsiteX3" fmla="*/ 0 w 5525629"/>
              <a:gd name="connsiteY3" fmla="*/ 7570027 h 7570788"/>
              <a:gd name="connsiteX4" fmla="*/ 3980395 w 5525629"/>
              <a:gd name="connsiteY4" fmla="*/ 3175 h 7570788"/>
              <a:gd name="connsiteX0" fmla="*/ 3980395 w 5525629"/>
              <a:gd name="connsiteY0" fmla="*/ 3175 h 7570788"/>
              <a:gd name="connsiteX1" fmla="*/ 5525629 w 5525629"/>
              <a:gd name="connsiteY1" fmla="*/ 0 h 7570788"/>
              <a:gd name="connsiteX2" fmla="*/ 5525033 w 5525629"/>
              <a:gd name="connsiteY2" fmla="*/ 7570788 h 7570788"/>
              <a:gd name="connsiteX3" fmla="*/ 0 w 5525629"/>
              <a:gd name="connsiteY3" fmla="*/ 7570027 h 7570788"/>
              <a:gd name="connsiteX4" fmla="*/ 3980395 w 5525629"/>
              <a:gd name="connsiteY4" fmla="*/ 3175 h 7570788"/>
              <a:gd name="connsiteX0" fmla="*/ 3980395 w 5525035"/>
              <a:gd name="connsiteY0" fmla="*/ 3175 h 7570788"/>
              <a:gd name="connsiteX1" fmla="*/ 5512929 w 5525035"/>
              <a:gd name="connsiteY1" fmla="*/ 0 h 7570788"/>
              <a:gd name="connsiteX2" fmla="*/ 5525033 w 5525035"/>
              <a:gd name="connsiteY2" fmla="*/ 7570788 h 7570788"/>
              <a:gd name="connsiteX3" fmla="*/ 0 w 5525035"/>
              <a:gd name="connsiteY3" fmla="*/ 7570027 h 7570788"/>
              <a:gd name="connsiteX4" fmla="*/ 3980395 w 5525035"/>
              <a:gd name="connsiteY4" fmla="*/ 3175 h 7570788"/>
              <a:gd name="connsiteX0" fmla="*/ 3980395 w 5525035"/>
              <a:gd name="connsiteY0" fmla="*/ 3175 h 7570788"/>
              <a:gd name="connsiteX1" fmla="*/ 5512929 w 5525035"/>
              <a:gd name="connsiteY1" fmla="*/ 0 h 7570788"/>
              <a:gd name="connsiteX2" fmla="*/ 5525033 w 5525035"/>
              <a:gd name="connsiteY2" fmla="*/ 7570788 h 7570788"/>
              <a:gd name="connsiteX3" fmla="*/ 0 w 5525035"/>
              <a:gd name="connsiteY3" fmla="*/ 7570027 h 7570788"/>
              <a:gd name="connsiteX4" fmla="*/ 2705563 w 5525035"/>
              <a:gd name="connsiteY4" fmla="*/ 2422525 h 7570788"/>
              <a:gd name="connsiteX5" fmla="*/ 3980395 w 5525035"/>
              <a:gd name="connsiteY5" fmla="*/ 3175 h 7570788"/>
              <a:gd name="connsiteX0" fmla="*/ 3980395 w 5931555"/>
              <a:gd name="connsiteY0" fmla="*/ 317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6" fmla="*/ 3980395 w 5931555"/>
              <a:gd name="connsiteY6" fmla="*/ 3175 h 7570788"/>
              <a:gd name="connsiteX0" fmla="*/ 3980395 w 5931555"/>
              <a:gd name="connsiteY0" fmla="*/ 317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6" fmla="*/ 3980395 w 5931555"/>
              <a:gd name="connsiteY6" fmla="*/ 3175 h 7570788"/>
              <a:gd name="connsiteX0" fmla="*/ 2705563 w 5931555"/>
              <a:gd name="connsiteY0" fmla="*/ 242252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0" fmla="*/ 2705563 w 5931555"/>
              <a:gd name="connsiteY0" fmla="*/ 4762 h 5153025"/>
              <a:gd name="connsiteX1" fmla="*/ 5515438 w 5931555"/>
              <a:gd name="connsiteY1" fmla="*/ 0 h 5153025"/>
              <a:gd name="connsiteX2" fmla="*/ 5525033 w 5931555"/>
              <a:gd name="connsiteY2" fmla="*/ 5153025 h 5153025"/>
              <a:gd name="connsiteX3" fmla="*/ 0 w 5931555"/>
              <a:gd name="connsiteY3" fmla="*/ 5152264 h 5153025"/>
              <a:gd name="connsiteX4" fmla="*/ 2705563 w 5931555"/>
              <a:gd name="connsiteY4" fmla="*/ 4762 h 5153025"/>
              <a:gd name="connsiteX0" fmla="*/ 2705563 w 5932168"/>
              <a:gd name="connsiteY0" fmla="*/ 4762 h 5153025"/>
              <a:gd name="connsiteX1" fmla="*/ 5515438 w 5932168"/>
              <a:gd name="connsiteY1" fmla="*/ 0 h 5153025"/>
              <a:gd name="connsiteX2" fmla="*/ 5525033 w 5932168"/>
              <a:gd name="connsiteY2" fmla="*/ 5153025 h 5153025"/>
              <a:gd name="connsiteX3" fmla="*/ 0 w 5932168"/>
              <a:gd name="connsiteY3" fmla="*/ 5152264 h 5153025"/>
              <a:gd name="connsiteX4" fmla="*/ 2705563 w 5932168"/>
              <a:gd name="connsiteY4" fmla="*/ 4762 h 5153025"/>
              <a:gd name="connsiteX0" fmla="*/ 2705563 w 5525033"/>
              <a:gd name="connsiteY0" fmla="*/ 4762 h 5153025"/>
              <a:gd name="connsiteX1" fmla="*/ 5515438 w 5525033"/>
              <a:gd name="connsiteY1" fmla="*/ 0 h 5153025"/>
              <a:gd name="connsiteX2" fmla="*/ 5525033 w 5525033"/>
              <a:gd name="connsiteY2" fmla="*/ 5153025 h 5153025"/>
              <a:gd name="connsiteX3" fmla="*/ 0 w 5525033"/>
              <a:gd name="connsiteY3" fmla="*/ 5152264 h 5153025"/>
              <a:gd name="connsiteX4" fmla="*/ 2705563 w 5525033"/>
              <a:gd name="connsiteY4" fmla="*/ 4762 h 5153025"/>
              <a:gd name="connsiteX0" fmla="*/ 2700800 w 5525033"/>
              <a:gd name="connsiteY0" fmla="*/ 9524 h 5153025"/>
              <a:gd name="connsiteX1" fmla="*/ 5515438 w 5525033"/>
              <a:gd name="connsiteY1" fmla="*/ 0 h 5153025"/>
              <a:gd name="connsiteX2" fmla="*/ 5525033 w 5525033"/>
              <a:gd name="connsiteY2" fmla="*/ 5153025 h 5153025"/>
              <a:gd name="connsiteX3" fmla="*/ 0 w 5525033"/>
              <a:gd name="connsiteY3" fmla="*/ 5152264 h 5153025"/>
              <a:gd name="connsiteX4" fmla="*/ 2700800 w 5525033"/>
              <a:gd name="connsiteY4" fmla="*/ 9524 h 5153025"/>
              <a:gd name="connsiteX0" fmla="*/ 2700800 w 5525033"/>
              <a:gd name="connsiteY0" fmla="*/ 4762 h 5148263"/>
              <a:gd name="connsiteX1" fmla="*/ 3991438 w 5525033"/>
              <a:gd name="connsiteY1" fmla="*/ 0 h 5148263"/>
              <a:gd name="connsiteX2" fmla="*/ 5525033 w 5525033"/>
              <a:gd name="connsiteY2" fmla="*/ 5148263 h 5148263"/>
              <a:gd name="connsiteX3" fmla="*/ 0 w 5525033"/>
              <a:gd name="connsiteY3" fmla="*/ 5147502 h 5148263"/>
              <a:gd name="connsiteX4" fmla="*/ 2700800 w 5525033"/>
              <a:gd name="connsiteY4" fmla="*/ 4762 h 5148263"/>
              <a:gd name="connsiteX0" fmla="*/ 2700800 w 5525033"/>
              <a:gd name="connsiteY0" fmla="*/ 4762 h 5148263"/>
              <a:gd name="connsiteX1" fmla="*/ 3991438 w 5525033"/>
              <a:gd name="connsiteY1" fmla="*/ 0 h 5148263"/>
              <a:gd name="connsiteX2" fmla="*/ 5525033 w 5525033"/>
              <a:gd name="connsiteY2" fmla="*/ 5148263 h 5148263"/>
              <a:gd name="connsiteX3" fmla="*/ 0 w 5525033"/>
              <a:gd name="connsiteY3" fmla="*/ 5147502 h 5148263"/>
              <a:gd name="connsiteX4" fmla="*/ 2700800 w 5525033"/>
              <a:gd name="connsiteY4" fmla="*/ 4762 h 5148263"/>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76373 w 3996271"/>
              <a:gd name="connsiteY4" fmla="*/ 5000447 h 5147502"/>
              <a:gd name="connsiteX5" fmla="*/ 2700800 w 3996271"/>
              <a:gd name="connsiteY5" fmla="*/ 4762 h 5147502"/>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3995704"/>
              <a:gd name="connsiteY0" fmla="*/ 4762 h 5416736"/>
              <a:gd name="connsiteX1" fmla="*/ 3991438 w 3995704"/>
              <a:gd name="connsiteY1" fmla="*/ 0 h 5416736"/>
              <a:gd name="connsiteX2" fmla="*/ 3995704 w 3995704"/>
              <a:gd name="connsiteY2" fmla="*/ 4990423 h 5416736"/>
              <a:gd name="connsiteX3" fmla="*/ 0 w 3995704"/>
              <a:gd name="connsiteY3" fmla="*/ 5147502 h 5416736"/>
              <a:gd name="connsiteX4" fmla="*/ 76373 w 3995704"/>
              <a:gd name="connsiteY4" fmla="*/ 5000447 h 5416736"/>
              <a:gd name="connsiteX5" fmla="*/ 2700800 w 3995704"/>
              <a:gd name="connsiteY5" fmla="*/ 4762 h 5416736"/>
              <a:gd name="connsiteX0" fmla="*/ 2624427 w 3919331"/>
              <a:gd name="connsiteY0" fmla="*/ 4762 h 5619584"/>
              <a:gd name="connsiteX1" fmla="*/ 3915065 w 3919331"/>
              <a:gd name="connsiteY1" fmla="*/ 0 h 5619584"/>
              <a:gd name="connsiteX2" fmla="*/ 3919331 w 3919331"/>
              <a:gd name="connsiteY2" fmla="*/ 4990423 h 5619584"/>
              <a:gd name="connsiteX3" fmla="*/ 0 w 3919331"/>
              <a:gd name="connsiteY3" fmla="*/ 5000447 h 5619584"/>
              <a:gd name="connsiteX4" fmla="*/ 2624427 w 3919331"/>
              <a:gd name="connsiteY4" fmla="*/ 4762 h 5619584"/>
              <a:gd name="connsiteX0" fmla="*/ 2624427 w 3919331"/>
              <a:gd name="connsiteY0" fmla="*/ 4762 h 5362318"/>
              <a:gd name="connsiteX1" fmla="*/ 3915065 w 3919331"/>
              <a:gd name="connsiteY1" fmla="*/ 0 h 5362318"/>
              <a:gd name="connsiteX2" fmla="*/ 3919331 w 3919331"/>
              <a:gd name="connsiteY2" fmla="*/ 4990423 h 5362318"/>
              <a:gd name="connsiteX3" fmla="*/ 0 w 3919331"/>
              <a:gd name="connsiteY3" fmla="*/ 5000447 h 5362318"/>
              <a:gd name="connsiteX4" fmla="*/ 2624427 w 3919331"/>
              <a:gd name="connsiteY4" fmla="*/ 4762 h 5362318"/>
              <a:gd name="connsiteX0" fmla="*/ 2624427 w 3919331"/>
              <a:gd name="connsiteY0" fmla="*/ 4762 h 5000447"/>
              <a:gd name="connsiteX1" fmla="*/ 3915065 w 3919331"/>
              <a:gd name="connsiteY1" fmla="*/ 0 h 5000447"/>
              <a:gd name="connsiteX2" fmla="*/ 3919331 w 3919331"/>
              <a:gd name="connsiteY2" fmla="*/ 4990423 h 5000447"/>
              <a:gd name="connsiteX3" fmla="*/ 0 w 3919331"/>
              <a:gd name="connsiteY3" fmla="*/ 5000447 h 5000447"/>
              <a:gd name="connsiteX4" fmla="*/ 2624427 w 3919331"/>
              <a:gd name="connsiteY4" fmla="*/ 4762 h 5000447"/>
              <a:gd name="connsiteX0" fmla="*/ 2678589 w 3919331"/>
              <a:gd name="connsiteY0" fmla="*/ 0 h 5080797"/>
              <a:gd name="connsiteX1" fmla="*/ 3915065 w 3919331"/>
              <a:gd name="connsiteY1" fmla="*/ 80350 h 5080797"/>
              <a:gd name="connsiteX2" fmla="*/ 3919331 w 3919331"/>
              <a:gd name="connsiteY2" fmla="*/ 5070773 h 5080797"/>
              <a:gd name="connsiteX3" fmla="*/ 0 w 3919331"/>
              <a:gd name="connsiteY3" fmla="*/ 5080797 h 5080797"/>
              <a:gd name="connsiteX4" fmla="*/ 2678589 w 3919331"/>
              <a:gd name="connsiteY4" fmla="*/ 0 h 5080797"/>
              <a:gd name="connsiteX0" fmla="*/ 2678589 w 3922803"/>
              <a:gd name="connsiteY0" fmla="*/ 893 h 5081690"/>
              <a:gd name="connsiteX1" fmla="*/ 3922803 w 3922803"/>
              <a:gd name="connsiteY1" fmla="*/ 0 h 5081690"/>
              <a:gd name="connsiteX2" fmla="*/ 3919331 w 3922803"/>
              <a:gd name="connsiteY2" fmla="*/ 5071666 h 5081690"/>
              <a:gd name="connsiteX3" fmla="*/ 0 w 3922803"/>
              <a:gd name="connsiteY3" fmla="*/ 5081690 h 5081690"/>
              <a:gd name="connsiteX4" fmla="*/ 2678589 w 3922803"/>
              <a:gd name="connsiteY4" fmla="*/ 893 h 5081690"/>
              <a:gd name="connsiteX0" fmla="*/ 2678589 w 3922803"/>
              <a:gd name="connsiteY0" fmla="*/ 10016 h 5090813"/>
              <a:gd name="connsiteX1" fmla="*/ 3791709 w 3922803"/>
              <a:gd name="connsiteY1" fmla="*/ 0 h 5090813"/>
              <a:gd name="connsiteX2" fmla="*/ 3922803 w 3922803"/>
              <a:gd name="connsiteY2" fmla="*/ 9123 h 5090813"/>
              <a:gd name="connsiteX3" fmla="*/ 3919331 w 3922803"/>
              <a:gd name="connsiteY3" fmla="*/ 5080789 h 5090813"/>
              <a:gd name="connsiteX4" fmla="*/ 0 w 3922803"/>
              <a:gd name="connsiteY4" fmla="*/ 5090813 h 5090813"/>
              <a:gd name="connsiteX5" fmla="*/ 2678589 w 3922803"/>
              <a:gd name="connsiteY5" fmla="*/ 10016 h 5090813"/>
              <a:gd name="connsiteX0" fmla="*/ 2678589 w 3922803"/>
              <a:gd name="connsiteY0" fmla="*/ 10016 h 5090813"/>
              <a:gd name="connsiteX1" fmla="*/ 3791709 w 3922803"/>
              <a:gd name="connsiteY1" fmla="*/ 0 h 5090813"/>
              <a:gd name="connsiteX2" fmla="*/ 3922803 w 3922803"/>
              <a:gd name="connsiteY2" fmla="*/ 9123 h 5090813"/>
              <a:gd name="connsiteX3" fmla="*/ 3919331 w 3922803"/>
              <a:gd name="connsiteY3" fmla="*/ 5080789 h 5090813"/>
              <a:gd name="connsiteX4" fmla="*/ 3791709 w 3922803"/>
              <a:gd name="connsiteY4" fmla="*/ 5076247 h 5090813"/>
              <a:gd name="connsiteX5" fmla="*/ 0 w 3922803"/>
              <a:gd name="connsiteY5" fmla="*/ 5090813 h 5090813"/>
              <a:gd name="connsiteX6" fmla="*/ 2678589 w 3922803"/>
              <a:gd name="connsiteY6" fmla="*/ 10016 h 5090813"/>
              <a:gd name="connsiteX0" fmla="*/ 2678589 w 4120653"/>
              <a:gd name="connsiteY0" fmla="*/ 10016 h 5090813"/>
              <a:gd name="connsiteX1" fmla="*/ 3791709 w 4120653"/>
              <a:gd name="connsiteY1" fmla="*/ 0 h 5090813"/>
              <a:gd name="connsiteX2" fmla="*/ 3922803 w 4120653"/>
              <a:gd name="connsiteY2" fmla="*/ 9123 h 5090813"/>
              <a:gd name="connsiteX3" fmla="*/ 3791709 w 4120653"/>
              <a:gd name="connsiteY3" fmla="*/ 5076247 h 5090813"/>
              <a:gd name="connsiteX4" fmla="*/ 0 w 4120653"/>
              <a:gd name="connsiteY4" fmla="*/ 5090813 h 5090813"/>
              <a:gd name="connsiteX5" fmla="*/ 2678589 w 4120653"/>
              <a:gd name="connsiteY5" fmla="*/ 10016 h 5090813"/>
              <a:gd name="connsiteX0" fmla="*/ 2678589 w 4111904"/>
              <a:gd name="connsiteY0" fmla="*/ 371665 h 5452462"/>
              <a:gd name="connsiteX1" fmla="*/ 3791709 w 4111904"/>
              <a:gd name="connsiteY1" fmla="*/ 361649 h 5452462"/>
              <a:gd name="connsiteX2" fmla="*/ 3922803 w 4111904"/>
              <a:gd name="connsiteY2" fmla="*/ 370772 h 5452462"/>
              <a:gd name="connsiteX3" fmla="*/ 3915520 w 4111904"/>
              <a:gd name="connsiteY3" fmla="*/ 376216 h 5452462"/>
              <a:gd name="connsiteX4" fmla="*/ 3791709 w 4111904"/>
              <a:gd name="connsiteY4" fmla="*/ 5437896 h 5452462"/>
              <a:gd name="connsiteX5" fmla="*/ 0 w 4111904"/>
              <a:gd name="connsiteY5" fmla="*/ 5452462 h 5452462"/>
              <a:gd name="connsiteX6" fmla="*/ 2678589 w 4111904"/>
              <a:gd name="connsiteY6" fmla="*/ 371665 h 5452462"/>
              <a:gd name="connsiteX0" fmla="*/ 2678589 w 4120653"/>
              <a:gd name="connsiteY0" fmla="*/ 10016 h 5090813"/>
              <a:gd name="connsiteX1" fmla="*/ 3791709 w 4120653"/>
              <a:gd name="connsiteY1" fmla="*/ 0 h 5090813"/>
              <a:gd name="connsiteX2" fmla="*/ 3922803 w 4120653"/>
              <a:gd name="connsiteY2" fmla="*/ 9123 h 5090813"/>
              <a:gd name="connsiteX3" fmla="*/ 3791709 w 4120653"/>
              <a:gd name="connsiteY3" fmla="*/ 5076247 h 5090813"/>
              <a:gd name="connsiteX4" fmla="*/ 0 w 4120653"/>
              <a:gd name="connsiteY4" fmla="*/ 5090813 h 5090813"/>
              <a:gd name="connsiteX5" fmla="*/ 2678589 w 4120653"/>
              <a:gd name="connsiteY5"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3657 h 5094454"/>
              <a:gd name="connsiteX1" fmla="*/ 3276437 w 3791709"/>
              <a:gd name="connsiteY1" fmla="*/ 0 h 5094454"/>
              <a:gd name="connsiteX2" fmla="*/ 3791709 w 3791709"/>
              <a:gd name="connsiteY2" fmla="*/ 3641 h 5094454"/>
              <a:gd name="connsiteX3" fmla="*/ 3791709 w 3791709"/>
              <a:gd name="connsiteY3" fmla="*/ 5079888 h 5094454"/>
              <a:gd name="connsiteX4" fmla="*/ 0 w 3791709"/>
              <a:gd name="connsiteY4" fmla="*/ 5094454 h 5094454"/>
              <a:gd name="connsiteX5" fmla="*/ 2678589 w 3791709"/>
              <a:gd name="connsiteY5" fmla="*/ 13657 h 5094454"/>
              <a:gd name="connsiteX0" fmla="*/ 2678589 w 3791709"/>
              <a:gd name="connsiteY0" fmla="*/ 13657 h 5094454"/>
              <a:gd name="connsiteX1" fmla="*/ 3276437 w 3791709"/>
              <a:gd name="connsiteY1" fmla="*/ 0 h 5094454"/>
              <a:gd name="connsiteX2" fmla="*/ 3791709 w 3791709"/>
              <a:gd name="connsiteY2" fmla="*/ 3641 h 5094454"/>
              <a:gd name="connsiteX3" fmla="*/ 3791709 w 3791709"/>
              <a:gd name="connsiteY3" fmla="*/ 5079888 h 5094454"/>
              <a:gd name="connsiteX4" fmla="*/ 3287361 w 3791709"/>
              <a:gd name="connsiteY4" fmla="*/ 5079888 h 5094454"/>
              <a:gd name="connsiteX5" fmla="*/ 0 w 3791709"/>
              <a:gd name="connsiteY5" fmla="*/ 5094454 h 5094454"/>
              <a:gd name="connsiteX6" fmla="*/ 2678589 w 3791709"/>
              <a:gd name="connsiteY6" fmla="*/ 13657 h 5094454"/>
              <a:gd name="connsiteX0" fmla="*/ 2678589 w 3791709"/>
              <a:gd name="connsiteY0" fmla="*/ 13657 h 5094454"/>
              <a:gd name="connsiteX1" fmla="*/ 3276437 w 3791709"/>
              <a:gd name="connsiteY1" fmla="*/ 0 h 5094454"/>
              <a:gd name="connsiteX2" fmla="*/ 3791709 w 3791709"/>
              <a:gd name="connsiteY2" fmla="*/ 3641 h 5094454"/>
              <a:gd name="connsiteX3" fmla="*/ 3287361 w 3791709"/>
              <a:gd name="connsiteY3" fmla="*/ 5079888 h 5094454"/>
              <a:gd name="connsiteX4" fmla="*/ 0 w 3791709"/>
              <a:gd name="connsiteY4" fmla="*/ 5094454 h 5094454"/>
              <a:gd name="connsiteX5" fmla="*/ 2678589 w 3791709"/>
              <a:gd name="connsiteY5" fmla="*/ 13657 h 5094454"/>
              <a:gd name="connsiteX0" fmla="*/ 2678589 w 3287361"/>
              <a:gd name="connsiteY0" fmla="*/ 13657 h 5094454"/>
              <a:gd name="connsiteX1" fmla="*/ 3276437 w 3287361"/>
              <a:gd name="connsiteY1" fmla="*/ 0 h 5094454"/>
              <a:gd name="connsiteX2" fmla="*/ 3287361 w 3287361"/>
              <a:gd name="connsiteY2" fmla="*/ 5079888 h 5094454"/>
              <a:gd name="connsiteX3" fmla="*/ 0 w 3287361"/>
              <a:gd name="connsiteY3" fmla="*/ 5094454 h 5094454"/>
              <a:gd name="connsiteX4" fmla="*/ 2678589 w 3287361"/>
              <a:gd name="connsiteY4" fmla="*/ 13657 h 5094454"/>
              <a:gd name="connsiteX0" fmla="*/ 2678589 w 3288412"/>
              <a:gd name="connsiteY0" fmla="*/ 6374 h 5087171"/>
              <a:gd name="connsiteX1" fmla="*/ 3287362 w 3288412"/>
              <a:gd name="connsiteY1" fmla="*/ 0 h 5087171"/>
              <a:gd name="connsiteX2" fmla="*/ 3287361 w 3288412"/>
              <a:gd name="connsiteY2" fmla="*/ 5072605 h 5087171"/>
              <a:gd name="connsiteX3" fmla="*/ 0 w 3288412"/>
              <a:gd name="connsiteY3" fmla="*/ 5087171 h 5087171"/>
              <a:gd name="connsiteX4" fmla="*/ 2678589 w 3288412"/>
              <a:gd name="connsiteY4" fmla="*/ 6374 h 5087171"/>
              <a:gd name="connsiteX0" fmla="*/ 2678589 w 3287361"/>
              <a:gd name="connsiteY0" fmla="*/ 1429 h 5082226"/>
              <a:gd name="connsiteX1" fmla="*/ 3281900 w 3287361"/>
              <a:gd name="connsiteY1" fmla="*/ 517 h 5082226"/>
              <a:gd name="connsiteX2" fmla="*/ 3287361 w 3287361"/>
              <a:gd name="connsiteY2" fmla="*/ 5067660 h 5082226"/>
              <a:gd name="connsiteX3" fmla="*/ 0 w 3287361"/>
              <a:gd name="connsiteY3" fmla="*/ 5082226 h 5082226"/>
              <a:gd name="connsiteX4" fmla="*/ 2678589 w 3287361"/>
              <a:gd name="connsiteY4" fmla="*/ 1429 h 5082226"/>
              <a:gd name="connsiteX0" fmla="*/ 2678589 w 3290060"/>
              <a:gd name="connsiteY0" fmla="*/ 1429 h 5082226"/>
              <a:gd name="connsiteX1" fmla="*/ 3289183 w 3290060"/>
              <a:gd name="connsiteY1" fmla="*/ 517 h 5082226"/>
              <a:gd name="connsiteX2" fmla="*/ 3287361 w 3290060"/>
              <a:gd name="connsiteY2" fmla="*/ 5067660 h 5082226"/>
              <a:gd name="connsiteX3" fmla="*/ 0 w 3290060"/>
              <a:gd name="connsiteY3" fmla="*/ 5082226 h 5082226"/>
              <a:gd name="connsiteX4" fmla="*/ 2678589 w 3290060"/>
              <a:gd name="connsiteY4" fmla="*/ 1429 h 5082226"/>
              <a:gd name="connsiteX0" fmla="*/ 2678589 w 3290060"/>
              <a:gd name="connsiteY0" fmla="*/ 2169 h 5082966"/>
              <a:gd name="connsiteX1" fmla="*/ 3289183 w 3290060"/>
              <a:gd name="connsiteY1" fmla="*/ 1257 h 5082966"/>
              <a:gd name="connsiteX2" fmla="*/ 3287361 w 3290060"/>
              <a:gd name="connsiteY2" fmla="*/ 5068400 h 5082966"/>
              <a:gd name="connsiteX3" fmla="*/ 0 w 3290060"/>
              <a:gd name="connsiteY3" fmla="*/ 5082966 h 5082966"/>
              <a:gd name="connsiteX4" fmla="*/ 2678589 w 3290060"/>
              <a:gd name="connsiteY4" fmla="*/ 2169 h 5082966"/>
              <a:gd name="connsiteX0" fmla="*/ 2678589 w 3289844"/>
              <a:gd name="connsiteY0" fmla="*/ 2169 h 5082966"/>
              <a:gd name="connsiteX1" fmla="*/ 3289183 w 3289844"/>
              <a:gd name="connsiteY1" fmla="*/ 1257 h 5082966"/>
              <a:gd name="connsiteX2" fmla="*/ 3283720 w 3289844"/>
              <a:gd name="connsiteY2" fmla="*/ 5081145 h 5082966"/>
              <a:gd name="connsiteX3" fmla="*/ 0 w 3289844"/>
              <a:gd name="connsiteY3" fmla="*/ 5082966 h 5082966"/>
              <a:gd name="connsiteX4" fmla="*/ 2678589 w 3289844"/>
              <a:gd name="connsiteY4" fmla="*/ 2169 h 5082966"/>
              <a:gd name="connsiteX0" fmla="*/ 2678589 w 3289844"/>
              <a:gd name="connsiteY0" fmla="*/ 2169 h 5082966"/>
              <a:gd name="connsiteX1" fmla="*/ 3289183 w 3289844"/>
              <a:gd name="connsiteY1" fmla="*/ 1257 h 5082966"/>
              <a:gd name="connsiteX2" fmla="*/ 3283720 w 3289844"/>
              <a:gd name="connsiteY2" fmla="*/ 5081145 h 5082966"/>
              <a:gd name="connsiteX3" fmla="*/ 0 w 3289844"/>
              <a:gd name="connsiteY3" fmla="*/ 5082966 h 5082966"/>
              <a:gd name="connsiteX4" fmla="*/ 2678589 w 3289844"/>
              <a:gd name="connsiteY4" fmla="*/ 2169 h 5082966"/>
              <a:gd name="connsiteX0" fmla="*/ 2678589 w 3290060"/>
              <a:gd name="connsiteY0" fmla="*/ 2169 h 5082966"/>
              <a:gd name="connsiteX1" fmla="*/ 3289183 w 3290060"/>
              <a:gd name="connsiteY1" fmla="*/ 1257 h 5082966"/>
              <a:gd name="connsiteX2" fmla="*/ 3287361 w 3290060"/>
              <a:gd name="connsiteY2" fmla="*/ 5081145 h 5082966"/>
              <a:gd name="connsiteX3" fmla="*/ 0 w 3290060"/>
              <a:gd name="connsiteY3" fmla="*/ 5082966 h 5082966"/>
              <a:gd name="connsiteX4" fmla="*/ 2678589 w 3290060"/>
              <a:gd name="connsiteY4" fmla="*/ 2169 h 5082966"/>
              <a:gd name="connsiteX0" fmla="*/ 2678589 w 3290060"/>
              <a:gd name="connsiteY0" fmla="*/ 2169 h 5082966"/>
              <a:gd name="connsiteX1" fmla="*/ 3289183 w 3290060"/>
              <a:gd name="connsiteY1" fmla="*/ 1257 h 5082966"/>
              <a:gd name="connsiteX2" fmla="*/ 3287361 w 3290060"/>
              <a:gd name="connsiteY2" fmla="*/ 5081145 h 5082966"/>
              <a:gd name="connsiteX3" fmla="*/ 0 w 3290060"/>
              <a:gd name="connsiteY3" fmla="*/ 5082966 h 5082966"/>
              <a:gd name="connsiteX4" fmla="*/ 2678589 w 3290060"/>
              <a:gd name="connsiteY4" fmla="*/ 2169 h 50829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90060" h="5082966">
                <a:moveTo>
                  <a:pt x="2678589" y="2169"/>
                </a:moveTo>
                <a:cubicBezTo>
                  <a:pt x="2877872" y="-2383"/>
                  <a:pt x="2983886" y="1713"/>
                  <a:pt x="3289183" y="1257"/>
                </a:cubicBezTo>
                <a:cubicBezTo>
                  <a:pt x="3292824" y="1694553"/>
                  <a:pt x="3283720" y="3387849"/>
                  <a:pt x="3287361" y="5081145"/>
                </a:cubicBezTo>
                <a:lnTo>
                  <a:pt x="0" y="5082966"/>
                </a:lnTo>
                <a:lnTo>
                  <a:pt x="2678589" y="2169"/>
                </a:lnTo>
                <a:close/>
              </a:path>
            </a:pathLst>
          </a:custGeom>
          <a:solidFill>
            <a:schemeClr val="bg1">
              <a:lumMod val="95000"/>
            </a:schemeClr>
          </a:solidFill>
          <a:ln>
            <a:noFill/>
          </a:ln>
        </p:spPr>
        <p:txBody>
          <a:bodyPr wrap="square" anchor="ctr" anchorCtr="1">
            <a:noAutofit/>
          </a:bodyPr>
          <a:lstStyle>
            <a:lvl1pPr algn="ctr">
              <a:defRPr>
                <a:solidFill>
                  <a:schemeClr val="tx1"/>
                </a:solidFill>
              </a:defRPr>
            </a:lvl1pPr>
          </a:lstStyle>
          <a:p>
            <a:r>
              <a:rPr lang="en-US" dirty="0"/>
              <a:t>Click icon to add picture</a:t>
            </a:r>
            <a:endParaRPr lang="en-GB" dirty="0"/>
          </a:p>
        </p:txBody>
      </p:sp>
      <p:sp>
        <p:nvSpPr>
          <p:cNvPr id="6" name="Text Placeholder 9"/>
          <p:cNvSpPr>
            <a:spLocks noGrp="1"/>
          </p:cNvSpPr>
          <p:nvPr>
            <p:ph type="body" sz="quarter" idx="14" hasCustomPrompt="1"/>
            <p:custDataLst>
              <p:tags r:id="rId3"/>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23212921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One Column with Edge Two">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1"/>
            </p:custDataLst>
            <p:extLst>
              <p:ext uri="{D42A27DB-BD31-4B8C-83A1-F6EECF244321}">
                <p14:modId xmlns:p14="http://schemas.microsoft.com/office/powerpoint/2010/main" val="881285995"/>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0" y="0"/>
                        <a:ext cx="112252" cy="224510"/>
                      </a:xfrm>
                      <a:prstGeom prst="rect">
                        <a:avLst/>
                      </a:prstGeom>
                    </p:spPr>
                  </p:pic>
                </p:oleObj>
              </mc:Fallback>
            </mc:AlternateContent>
          </a:graphicData>
        </a:graphic>
      </p:graphicFrame>
      <p:sp>
        <p:nvSpPr>
          <p:cNvPr id="15" name="Subtitle 2"/>
          <p:cNvSpPr>
            <a:spLocks noGrp="1"/>
          </p:cNvSpPr>
          <p:nvPr>
            <p:ph type="subTitle" idx="1" hasCustomPrompt="1"/>
            <p:custDataLst>
              <p:tags r:id="rId2"/>
            </p:custDataLst>
          </p:nvPr>
        </p:nvSpPr>
        <p:spPr>
          <a:xfrm>
            <a:off x="684000" y="1817688"/>
            <a:ext cx="2977200" cy="234833"/>
          </a:xfrm>
          <a:prstGeom prst="rect">
            <a:avLst/>
          </a:prstGeom>
        </p:spPr>
        <p:txBody>
          <a:bodyPr/>
          <a:lstStyle>
            <a:lvl1pPr marL="0" marR="0" indent="0" algn="l" defTabSz="995690" rtl="0" eaLnBrk="1" fontAlgn="auto" latinLnBrk="0" hangingPunct="1">
              <a:lnSpc>
                <a:spcPct val="100000"/>
              </a:lnSpc>
              <a:spcBef>
                <a:spcPts val="0"/>
              </a:spcBef>
              <a:spcAft>
                <a:spcPts val="600"/>
              </a:spcAft>
              <a:buClrTx/>
              <a:buSzTx/>
              <a:buFont typeface="Arial" panose="020B0604020202020204" pitchFamily="34" charset="0"/>
              <a:buNone/>
              <a:tabLst/>
              <a:defRPr sz="1200" b="0">
                <a:solidFill>
                  <a:schemeClr val="tx1"/>
                </a:solidFill>
              </a:defRPr>
            </a:lvl1pPr>
            <a:lvl2pPr marL="497845" indent="0" algn="ctr">
              <a:buNone/>
              <a:defRPr>
                <a:solidFill>
                  <a:schemeClr val="tx1">
                    <a:tint val="75000"/>
                  </a:schemeClr>
                </a:solidFill>
              </a:defRPr>
            </a:lvl2pPr>
            <a:lvl3pPr marL="995690" indent="0" algn="ctr">
              <a:buNone/>
              <a:defRPr>
                <a:solidFill>
                  <a:schemeClr val="tx1">
                    <a:tint val="75000"/>
                  </a:schemeClr>
                </a:solidFill>
              </a:defRPr>
            </a:lvl3pPr>
            <a:lvl4pPr marL="1493535" indent="0" algn="ctr">
              <a:buNone/>
              <a:defRPr>
                <a:solidFill>
                  <a:schemeClr val="tx1">
                    <a:tint val="75000"/>
                  </a:schemeClr>
                </a:solidFill>
              </a:defRPr>
            </a:lvl4pPr>
            <a:lvl5pPr marL="1991380" indent="0" algn="ctr">
              <a:buNone/>
              <a:defRPr>
                <a:solidFill>
                  <a:schemeClr val="tx1">
                    <a:tint val="75000"/>
                  </a:schemeClr>
                </a:solidFill>
              </a:defRPr>
            </a:lvl5pPr>
            <a:lvl6pPr marL="2489225" indent="0" algn="ctr">
              <a:buNone/>
              <a:defRPr>
                <a:solidFill>
                  <a:schemeClr val="tx1">
                    <a:tint val="75000"/>
                  </a:schemeClr>
                </a:solidFill>
              </a:defRPr>
            </a:lvl6pPr>
            <a:lvl7pPr marL="2987070" indent="0" algn="ctr">
              <a:buNone/>
              <a:defRPr>
                <a:solidFill>
                  <a:schemeClr val="tx1">
                    <a:tint val="75000"/>
                  </a:schemeClr>
                </a:solidFill>
              </a:defRPr>
            </a:lvl7pPr>
            <a:lvl8pPr marL="3484916" indent="0" algn="ctr">
              <a:buNone/>
              <a:defRPr>
                <a:solidFill>
                  <a:schemeClr val="tx1">
                    <a:tint val="75000"/>
                  </a:schemeClr>
                </a:solidFill>
              </a:defRPr>
            </a:lvl8pPr>
            <a:lvl9pPr marL="3982761" indent="0" algn="ctr">
              <a:buNone/>
              <a:defRPr>
                <a:solidFill>
                  <a:schemeClr val="tx1">
                    <a:tint val="75000"/>
                  </a:schemeClr>
                </a:solidFill>
              </a:defRPr>
            </a:lvl9pPr>
          </a:lstStyle>
          <a:p>
            <a:r>
              <a:rPr lang="en-US" dirty="0"/>
              <a:t>Click to edit sub-title</a:t>
            </a:r>
          </a:p>
        </p:txBody>
      </p:sp>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10" name="Freeform 9"/>
          <p:cNvSpPr/>
          <p:nvPr userDrawn="1"/>
        </p:nvSpPr>
        <p:spPr>
          <a:xfrm flipV="1">
            <a:off x="4168806" y="1835150"/>
            <a:ext cx="3394045" cy="4417000"/>
          </a:xfrm>
          <a:custGeom>
            <a:avLst/>
            <a:gdLst>
              <a:gd name="connsiteX0" fmla="*/ 2324070 w 3394045"/>
              <a:gd name="connsiteY0" fmla="*/ 4417000 h 4417000"/>
              <a:gd name="connsiteX1" fmla="*/ 3394045 w 3394045"/>
              <a:gd name="connsiteY1" fmla="*/ 4417000 h 4417000"/>
              <a:gd name="connsiteX2" fmla="*/ 3394045 w 3394045"/>
              <a:gd name="connsiteY2" fmla="*/ 0 h 4417000"/>
              <a:gd name="connsiteX3" fmla="*/ 0 w 3394045"/>
              <a:gd name="connsiteY3" fmla="*/ 0 h 4417000"/>
              <a:gd name="connsiteX4" fmla="*/ 2324070 w 3394045"/>
              <a:gd name="connsiteY4" fmla="*/ 4417000 h 4417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045" h="4417000">
                <a:moveTo>
                  <a:pt x="2324070" y="4417000"/>
                </a:moveTo>
                <a:lnTo>
                  <a:pt x="3394045" y="4417000"/>
                </a:lnTo>
                <a:lnTo>
                  <a:pt x="3394045" y="0"/>
                </a:lnTo>
                <a:lnTo>
                  <a:pt x="0" y="0"/>
                </a:lnTo>
                <a:lnTo>
                  <a:pt x="2324070" y="441700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GB" sz="1200" dirty="0">
              <a:solidFill>
                <a:schemeClr val="bg1"/>
              </a:solidFill>
            </a:endParaRPr>
          </a:p>
        </p:txBody>
      </p:sp>
      <p:sp>
        <p:nvSpPr>
          <p:cNvPr id="13" name="Picture Placeholder 18"/>
          <p:cNvSpPr>
            <a:spLocks noGrp="1"/>
          </p:cNvSpPr>
          <p:nvPr>
            <p:ph type="pic" sz="quarter" idx="13" hasCustomPrompt="1"/>
          </p:nvPr>
        </p:nvSpPr>
        <p:spPr>
          <a:xfrm>
            <a:off x="1804196" y="6397164"/>
            <a:ext cx="5760525" cy="4297012"/>
          </a:xfrm>
          <a:custGeom>
            <a:avLst/>
            <a:gdLst>
              <a:gd name="connsiteX0" fmla="*/ 3994306 w 6600646"/>
              <a:gd name="connsiteY0" fmla="*/ 0 h 7578726"/>
              <a:gd name="connsiteX1" fmla="*/ 6600646 w 6600646"/>
              <a:gd name="connsiteY1" fmla="*/ 0 h 7578726"/>
              <a:gd name="connsiteX2" fmla="*/ 6600646 w 6600646"/>
              <a:gd name="connsiteY2" fmla="*/ 7578726 h 7578726"/>
              <a:gd name="connsiteX3" fmla="*/ 0 w 6600646"/>
              <a:gd name="connsiteY3" fmla="*/ 7578726 h 7578726"/>
              <a:gd name="connsiteX0" fmla="*/ 3994306 w 6600646"/>
              <a:gd name="connsiteY0" fmla="*/ 0 h 7578726"/>
              <a:gd name="connsiteX1" fmla="*/ 3952696 w 6600646"/>
              <a:gd name="connsiteY1" fmla="*/ 38100 h 7578726"/>
              <a:gd name="connsiteX2" fmla="*/ 6600646 w 6600646"/>
              <a:gd name="connsiteY2" fmla="*/ 7578726 h 7578726"/>
              <a:gd name="connsiteX3" fmla="*/ 0 w 6600646"/>
              <a:gd name="connsiteY3" fmla="*/ 7578726 h 7578726"/>
              <a:gd name="connsiteX4" fmla="*/ 3994306 w 6600646"/>
              <a:gd name="connsiteY4" fmla="*/ 0 h 7578726"/>
              <a:gd name="connsiteX0" fmla="*/ 3994306 w 3994306"/>
              <a:gd name="connsiteY0" fmla="*/ 0 h 7607301"/>
              <a:gd name="connsiteX1" fmla="*/ 3952696 w 3994306"/>
              <a:gd name="connsiteY1" fmla="*/ 38100 h 7607301"/>
              <a:gd name="connsiteX2" fmla="*/ 3952696 w 3994306"/>
              <a:gd name="connsiteY2" fmla="*/ 7607301 h 7607301"/>
              <a:gd name="connsiteX3" fmla="*/ 0 w 3994306"/>
              <a:gd name="connsiteY3" fmla="*/ 7578726 h 7607301"/>
              <a:gd name="connsiteX4" fmla="*/ 3994306 w 3994306"/>
              <a:gd name="connsiteY4" fmla="*/ 0 h 7607301"/>
              <a:gd name="connsiteX0" fmla="*/ 3953031 w 3953031"/>
              <a:gd name="connsiteY0" fmla="*/ 0 h 7581901"/>
              <a:gd name="connsiteX1" fmla="*/ 3952696 w 3953031"/>
              <a:gd name="connsiteY1" fmla="*/ 12700 h 7581901"/>
              <a:gd name="connsiteX2" fmla="*/ 3952696 w 3953031"/>
              <a:gd name="connsiteY2" fmla="*/ 7581901 h 7581901"/>
              <a:gd name="connsiteX3" fmla="*/ 0 w 3953031"/>
              <a:gd name="connsiteY3" fmla="*/ 7553326 h 7581901"/>
              <a:gd name="connsiteX4" fmla="*/ 3953031 w 3953031"/>
              <a:gd name="connsiteY4" fmla="*/ 0 h 7581901"/>
              <a:gd name="connsiteX0" fmla="*/ 3953031 w 3953031"/>
              <a:gd name="connsiteY0" fmla="*/ 0 h 7600951"/>
              <a:gd name="connsiteX1" fmla="*/ 3952696 w 3953031"/>
              <a:gd name="connsiteY1" fmla="*/ 31750 h 7600951"/>
              <a:gd name="connsiteX2" fmla="*/ 3952696 w 3953031"/>
              <a:gd name="connsiteY2" fmla="*/ 7600951 h 7600951"/>
              <a:gd name="connsiteX3" fmla="*/ 0 w 3953031"/>
              <a:gd name="connsiteY3" fmla="*/ 7572376 h 7600951"/>
              <a:gd name="connsiteX4" fmla="*/ 3953031 w 3953031"/>
              <a:gd name="connsiteY4"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0 w 3987956"/>
              <a:gd name="connsiteY3" fmla="*/ 7572376 h 7600951"/>
              <a:gd name="connsiteX4" fmla="*/ 3987956 w 3987956"/>
              <a:gd name="connsiteY4"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0 w 3987956"/>
              <a:gd name="connsiteY3" fmla="*/ 7572376 h 7600951"/>
              <a:gd name="connsiteX4" fmla="*/ 3921657 w 3987956"/>
              <a:gd name="connsiteY4" fmla="*/ 127762 h 7600951"/>
              <a:gd name="connsiteX5" fmla="*/ 3987956 w 3987956"/>
              <a:gd name="connsiteY5"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3921657 w 3987956"/>
              <a:gd name="connsiteY3" fmla="*/ 7596950 h 7600951"/>
              <a:gd name="connsiteX4" fmla="*/ 0 w 3987956"/>
              <a:gd name="connsiteY4" fmla="*/ 7572376 h 7600951"/>
              <a:gd name="connsiteX5" fmla="*/ 3921657 w 3987956"/>
              <a:gd name="connsiteY5" fmla="*/ 127762 h 7600951"/>
              <a:gd name="connsiteX6" fmla="*/ 3987956 w 3987956"/>
              <a:gd name="connsiteY6"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3921657 w 3987956"/>
              <a:gd name="connsiteY3" fmla="*/ 7596950 h 7600951"/>
              <a:gd name="connsiteX4" fmla="*/ 0 w 3987956"/>
              <a:gd name="connsiteY4" fmla="*/ 7572376 h 7600951"/>
              <a:gd name="connsiteX5" fmla="*/ 3921657 w 3987956"/>
              <a:gd name="connsiteY5" fmla="*/ 127762 h 7600951"/>
              <a:gd name="connsiteX6" fmla="*/ 3987956 w 3987956"/>
              <a:gd name="connsiteY6" fmla="*/ 0 h 7600951"/>
              <a:gd name="connsiteX0" fmla="*/ 3987956 w 3987956"/>
              <a:gd name="connsiteY0" fmla="*/ 0 h 7596950"/>
              <a:gd name="connsiteX1" fmla="*/ 3987621 w 3987956"/>
              <a:gd name="connsiteY1" fmla="*/ 31750 h 7596950"/>
              <a:gd name="connsiteX2" fmla="*/ 3921657 w 3987956"/>
              <a:gd name="connsiteY2" fmla="*/ 7596950 h 7596950"/>
              <a:gd name="connsiteX3" fmla="*/ 0 w 3987956"/>
              <a:gd name="connsiteY3" fmla="*/ 7572376 h 7596950"/>
              <a:gd name="connsiteX4" fmla="*/ 3921657 w 3987956"/>
              <a:gd name="connsiteY4" fmla="*/ 127762 h 7596950"/>
              <a:gd name="connsiteX5" fmla="*/ 3987956 w 3987956"/>
              <a:gd name="connsiteY5" fmla="*/ 0 h 7596950"/>
              <a:gd name="connsiteX0" fmla="*/ 3921657 w 3987621"/>
              <a:gd name="connsiteY0" fmla="*/ 96012 h 7565200"/>
              <a:gd name="connsiteX1" fmla="*/ 3987621 w 3987621"/>
              <a:gd name="connsiteY1" fmla="*/ 0 h 7565200"/>
              <a:gd name="connsiteX2" fmla="*/ 3921657 w 3987621"/>
              <a:gd name="connsiteY2" fmla="*/ 7565200 h 7565200"/>
              <a:gd name="connsiteX3" fmla="*/ 0 w 3987621"/>
              <a:gd name="connsiteY3" fmla="*/ 7540626 h 7565200"/>
              <a:gd name="connsiteX4" fmla="*/ 3921657 w 3987621"/>
              <a:gd name="connsiteY4" fmla="*/ 96012 h 7565200"/>
              <a:gd name="connsiteX0" fmla="*/ 3921657 w 3921657"/>
              <a:gd name="connsiteY0" fmla="*/ 0 h 7469188"/>
              <a:gd name="connsiteX1" fmla="*/ 3921657 w 3921657"/>
              <a:gd name="connsiteY1" fmla="*/ 7469188 h 7469188"/>
              <a:gd name="connsiteX2" fmla="*/ 0 w 3921657"/>
              <a:gd name="connsiteY2" fmla="*/ 7444614 h 7469188"/>
              <a:gd name="connsiteX3" fmla="*/ 3921657 w 3921657"/>
              <a:gd name="connsiteY3" fmla="*/ 0 h 7469188"/>
              <a:gd name="connsiteX0" fmla="*/ 3945470 w 3945470"/>
              <a:gd name="connsiteY0" fmla="*/ 0 h 7473189"/>
              <a:gd name="connsiteX1" fmla="*/ 3945470 w 3945470"/>
              <a:gd name="connsiteY1" fmla="*/ 7469188 h 7473189"/>
              <a:gd name="connsiteX2" fmla="*/ 0 w 3945470"/>
              <a:gd name="connsiteY2" fmla="*/ 7473189 h 7473189"/>
              <a:gd name="connsiteX3" fmla="*/ 3945470 w 3945470"/>
              <a:gd name="connsiteY3" fmla="*/ 0 h 7473189"/>
              <a:gd name="connsiteX0" fmla="*/ 3945470 w 5550433"/>
              <a:gd name="connsiteY0" fmla="*/ 0 h 7473950"/>
              <a:gd name="connsiteX1" fmla="*/ 5550433 w 5550433"/>
              <a:gd name="connsiteY1" fmla="*/ 7473950 h 7473950"/>
              <a:gd name="connsiteX2" fmla="*/ 0 w 5550433"/>
              <a:gd name="connsiteY2" fmla="*/ 7473189 h 7473950"/>
              <a:gd name="connsiteX3" fmla="*/ 3945470 w 5550433"/>
              <a:gd name="connsiteY3" fmla="*/ 0 h 7473950"/>
              <a:gd name="connsiteX0" fmla="*/ 3974045 w 5550433"/>
              <a:gd name="connsiteY0" fmla="*/ 0 h 7554913"/>
              <a:gd name="connsiteX1" fmla="*/ 5550433 w 5550433"/>
              <a:gd name="connsiteY1" fmla="*/ 7554913 h 7554913"/>
              <a:gd name="connsiteX2" fmla="*/ 0 w 5550433"/>
              <a:gd name="connsiteY2" fmla="*/ 7554152 h 7554913"/>
              <a:gd name="connsiteX3" fmla="*/ 3974045 w 5550433"/>
              <a:gd name="connsiteY3" fmla="*/ 0 h 7554913"/>
              <a:gd name="connsiteX0" fmla="*/ 3974045 w 5550433"/>
              <a:gd name="connsiteY0" fmla="*/ 0 h 7554913"/>
              <a:gd name="connsiteX1" fmla="*/ 4112754 w 5550433"/>
              <a:gd name="connsiteY1" fmla="*/ 646113 h 7554913"/>
              <a:gd name="connsiteX2" fmla="*/ 5550433 w 5550433"/>
              <a:gd name="connsiteY2" fmla="*/ 7554913 h 7554913"/>
              <a:gd name="connsiteX3" fmla="*/ 0 w 5550433"/>
              <a:gd name="connsiteY3" fmla="*/ 7554152 h 7554913"/>
              <a:gd name="connsiteX4" fmla="*/ 3974045 w 5550433"/>
              <a:gd name="connsiteY4" fmla="*/ 0 h 7554913"/>
              <a:gd name="connsiteX0" fmla="*/ 3974045 w 5550433"/>
              <a:gd name="connsiteY0" fmla="*/ 0 h 7554913"/>
              <a:gd name="connsiteX1" fmla="*/ 4112754 w 5550433"/>
              <a:gd name="connsiteY1" fmla="*/ 646113 h 7554913"/>
              <a:gd name="connsiteX2" fmla="*/ 5550433 w 5550433"/>
              <a:gd name="connsiteY2" fmla="*/ 7554913 h 7554913"/>
              <a:gd name="connsiteX3" fmla="*/ 0 w 5550433"/>
              <a:gd name="connsiteY3" fmla="*/ 7554152 h 7554913"/>
              <a:gd name="connsiteX4" fmla="*/ 3974045 w 5550433"/>
              <a:gd name="connsiteY4" fmla="*/ 0 h 7554913"/>
              <a:gd name="connsiteX0" fmla="*/ 3974045 w 5551029"/>
              <a:gd name="connsiteY0" fmla="*/ 15875 h 7570788"/>
              <a:gd name="connsiteX1" fmla="*/ 5551029 w 5551029"/>
              <a:gd name="connsiteY1" fmla="*/ 0 h 7570788"/>
              <a:gd name="connsiteX2" fmla="*/ 5550433 w 5551029"/>
              <a:gd name="connsiteY2" fmla="*/ 7570788 h 7570788"/>
              <a:gd name="connsiteX3" fmla="*/ 0 w 5551029"/>
              <a:gd name="connsiteY3" fmla="*/ 7570027 h 7570788"/>
              <a:gd name="connsiteX4" fmla="*/ 3974045 w 5551029"/>
              <a:gd name="connsiteY4" fmla="*/ 15875 h 7570788"/>
              <a:gd name="connsiteX0" fmla="*/ 3974045 w 5550434"/>
              <a:gd name="connsiteY0" fmla="*/ 15875 h 7570788"/>
              <a:gd name="connsiteX1" fmla="*/ 5525629 w 5550434"/>
              <a:gd name="connsiteY1" fmla="*/ 0 h 7570788"/>
              <a:gd name="connsiteX2" fmla="*/ 5550433 w 5550434"/>
              <a:gd name="connsiteY2" fmla="*/ 7570788 h 7570788"/>
              <a:gd name="connsiteX3" fmla="*/ 0 w 5550434"/>
              <a:gd name="connsiteY3" fmla="*/ 7570027 h 7570788"/>
              <a:gd name="connsiteX4" fmla="*/ 3974045 w 5550434"/>
              <a:gd name="connsiteY4" fmla="*/ 15875 h 7570788"/>
              <a:gd name="connsiteX0" fmla="*/ 3980395 w 5550434"/>
              <a:gd name="connsiteY0" fmla="*/ 3175 h 7570788"/>
              <a:gd name="connsiteX1" fmla="*/ 5525629 w 5550434"/>
              <a:gd name="connsiteY1" fmla="*/ 0 h 7570788"/>
              <a:gd name="connsiteX2" fmla="*/ 5550433 w 5550434"/>
              <a:gd name="connsiteY2" fmla="*/ 7570788 h 7570788"/>
              <a:gd name="connsiteX3" fmla="*/ 0 w 5550434"/>
              <a:gd name="connsiteY3" fmla="*/ 7570027 h 7570788"/>
              <a:gd name="connsiteX4" fmla="*/ 3980395 w 5550434"/>
              <a:gd name="connsiteY4" fmla="*/ 3175 h 7570788"/>
              <a:gd name="connsiteX0" fmla="*/ 3980395 w 5525629"/>
              <a:gd name="connsiteY0" fmla="*/ 3175 h 7570788"/>
              <a:gd name="connsiteX1" fmla="*/ 5525629 w 5525629"/>
              <a:gd name="connsiteY1" fmla="*/ 0 h 7570788"/>
              <a:gd name="connsiteX2" fmla="*/ 5525033 w 5525629"/>
              <a:gd name="connsiteY2" fmla="*/ 7570788 h 7570788"/>
              <a:gd name="connsiteX3" fmla="*/ 0 w 5525629"/>
              <a:gd name="connsiteY3" fmla="*/ 7570027 h 7570788"/>
              <a:gd name="connsiteX4" fmla="*/ 3980395 w 5525629"/>
              <a:gd name="connsiteY4" fmla="*/ 3175 h 7570788"/>
              <a:gd name="connsiteX0" fmla="*/ 3980395 w 5525629"/>
              <a:gd name="connsiteY0" fmla="*/ 3175 h 7570788"/>
              <a:gd name="connsiteX1" fmla="*/ 5525629 w 5525629"/>
              <a:gd name="connsiteY1" fmla="*/ 0 h 7570788"/>
              <a:gd name="connsiteX2" fmla="*/ 5525033 w 5525629"/>
              <a:gd name="connsiteY2" fmla="*/ 7570788 h 7570788"/>
              <a:gd name="connsiteX3" fmla="*/ 0 w 5525629"/>
              <a:gd name="connsiteY3" fmla="*/ 7570027 h 7570788"/>
              <a:gd name="connsiteX4" fmla="*/ 3980395 w 5525629"/>
              <a:gd name="connsiteY4" fmla="*/ 3175 h 7570788"/>
              <a:gd name="connsiteX0" fmla="*/ 3980395 w 5525035"/>
              <a:gd name="connsiteY0" fmla="*/ 3175 h 7570788"/>
              <a:gd name="connsiteX1" fmla="*/ 5512929 w 5525035"/>
              <a:gd name="connsiteY1" fmla="*/ 0 h 7570788"/>
              <a:gd name="connsiteX2" fmla="*/ 5525033 w 5525035"/>
              <a:gd name="connsiteY2" fmla="*/ 7570788 h 7570788"/>
              <a:gd name="connsiteX3" fmla="*/ 0 w 5525035"/>
              <a:gd name="connsiteY3" fmla="*/ 7570027 h 7570788"/>
              <a:gd name="connsiteX4" fmla="*/ 3980395 w 5525035"/>
              <a:gd name="connsiteY4" fmla="*/ 3175 h 7570788"/>
              <a:gd name="connsiteX0" fmla="*/ 3980395 w 5525035"/>
              <a:gd name="connsiteY0" fmla="*/ 3175 h 7570788"/>
              <a:gd name="connsiteX1" fmla="*/ 5512929 w 5525035"/>
              <a:gd name="connsiteY1" fmla="*/ 0 h 7570788"/>
              <a:gd name="connsiteX2" fmla="*/ 5525033 w 5525035"/>
              <a:gd name="connsiteY2" fmla="*/ 7570788 h 7570788"/>
              <a:gd name="connsiteX3" fmla="*/ 0 w 5525035"/>
              <a:gd name="connsiteY3" fmla="*/ 7570027 h 7570788"/>
              <a:gd name="connsiteX4" fmla="*/ 2705563 w 5525035"/>
              <a:gd name="connsiteY4" fmla="*/ 2422525 h 7570788"/>
              <a:gd name="connsiteX5" fmla="*/ 3980395 w 5525035"/>
              <a:gd name="connsiteY5" fmla="*/ 3175 h 7570788"/>
              <a:gd name="connsiteX0" fmla="*/ 3980395 w 5931555"/>
              <a:gd name="connsiteY0" fmla="*/ 317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6" fmla="*/ 3980395 w 5931555"/>
              <a:gd name="connsiteY6" fmla="*/ 3175 h 7570788"/>
              <a:gd name="connsiteX0" fmla="*/ 3980395 w 5931555"/>
              <a:gd name="connsiteY0" fmla="*/ 317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6" fmla="*/ 3980395 w 5931555"/>
              <a:gd name="connsiteY6" fmla="*/ 3175 h 7570788"/>
              <a:gd name="connsiteX0" fmla="*/ 2705563 w 5931555"/>
              <a:gd name="connsiteY0" fmla="*/ 242252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0" fmla="*/ 2705563 w 5931555"/>
              <a:gd name="connsiteY0" fmla="*/ 4762 h 5153025"/>
              <a:gd name="connsiteX1" fmla="*/ 5515438 w 5931555"/>
              <a:gd name="connsiteY1" fmla="*/ 0 h 5153025"/>
              <a:gd name="connsiteX2" fmla="*/ 5525033 w 5931555"/>
              <a:gd name="connsiteY2" fmla="*/ 5153025 h 5153025"/>
              <a:gd name="connsiteX3" fmla="*/ 0 w 5931555"/>
              <a:gd name="connsiteY3" fmla="*/ 5152264 h 5153025"/>
              <a:gd name="connsiteX4" fmla="*/ 2705563 w 5931555"/>
              <a:gd name="connsiteY4" fmla="*/ 4762 h 5153025"/>
              <a:gd name="connsiteX0" fmla="*/ 2705563 w 5932168"/>
              <a:gd name="connsiteY0" fmla="*/ 4762 h 5153025"/>
              <a:gd name="connsiteX1" fmla="*/ 5515438 w 5932168"/>
              <a:gd name="connsiteY1" fmla="*/ 0 h 5153025"/>
              <a:gd name="connsiteX2" fmla="*/ 5525033 w 5932168"/>
              <a:gd name="connsiteY2" fmla="*/ 5153025 h 5153025"/>
              <a:gd name="connsiteX3" fmla="*/ 0 w 5932168"/>
              <a:gd name="connsiteY3" fmla="*/ 5152264 h 5153025"/>
              <a:gd name="connsiteX4" fmla="*/ 2705563 w 5932168"/>
              <a:gd name="connsiteY4" fmla="*/ 4762 h 5153025"/>
              <a:gd name="connsiteX0" fmla="*/ 2705563 w 5525033"/>
              <a:gd name="connsiteY0" fmla="*/ 4762 h 5153025"/>
              <a:gd name="connsiteX1" fmla="*/ 5515438 w 5525033"/>
              <a:gd name="connsiteY1" fmla="*/ 0 h 5153025"/>
              <a:gd name="connsiteX2" fmla="*/ 5525033 w 5525033"/>
              <a:gd name="connsiteY2" fmla="*/ 5153025 h 5153025"/>
              <a:gd name="connsiteX3" fmla="*/ 0 w 5525033"/>
              <a:gd name="connsiteY3" fmla="*/ 5152264 h 5153025"/>
              <a:gd name="connsiteX4" fmla="*/ 2705563 w 5525033"/>
              <a:gd name="connsiteY4" fmla="*/ 4762 h 5153025"/>
              <a:gd name="connsiteX0" fmla="*/ 2700800 w 5525033"/>
              <a:gd name="connsiteY0" fmla="*/ 9524 h 5153025"/>
              <a:gd name="connsiteX1" fmla="*/ 5515438 w 5525033"/>
              <a:gd name="connsiteY1" fmla="*/ 0 h 5153025"/>
              <a:gd name="connsiteX2" fmla="*/ 5525033 w 5525033"/>
              <a:gd name="connsiteY2" fmla="*/ 5153025 h 5153025"/>
              <a:gd name="connsiteX3" fmla="*/ 0 w 5525033"/>
              <a:gd name="connsiteY3" fmla="*/ 5152264 h 5153025"/>
              <a:gd name="connsiteX4" fmla="*/ 2700800 w 5525033"/>
              <a:gd name="connsiteY4" fmla="*/ 9524 h 5153025"/>
              <a:gd name="connsiteX0" fmla="*/ 2700800 w 5525033"/>
              <a:gd name="connsiteY0" fmla="*/ 4762 h 5148263"/>
              <a:gd name="connsiteX1" fmla="*/ 3991438 w 5525033"/>
              <a:gd name="connsiteY1" fmla="*/ 0 h 5148263"/>
              <a:gd name="connsiteX2" fmla="*/ 5525033 w 5525033"/>
              <a:gd name="connsiteY2" fmla="*/ 5148263 h 5148263"/>
              <a:gd name="connsiteX3" fmla="*/ 0 w 5525033"/>
              <a:gd name="connsiteY3" fmla="*/ 5147502 h 5148263"/>
              <a:gd name="connsiteX4" fmla="*/ 2700800 w 5525033"/>
              <a:gd name="connsiteY4" fmla="*/ 4762 h 5148263"/>
              <a:gd name="connsiteX0" fmla="*/ 2700800 w 5525033"/>
              <a:gd name="connsiteY0" fmla="*/ 4762 h 5148263"/>
              <a:gd name="connsiteX1" fmla="*/ 3991438 w 5525033"/>
              <a:gd name="connsiteY1" fmla="*/ 0 h 5148263"/>
              <a:gd name="connsiteX2" fmla="*/ 5525033 w 5525033"/>
              <a:gd name="connsiteY2" fmla="*/ 5148263 h 5148263"/>
              <a:gd name="connsiteX3" fmla="*/ 0 w 5525033"/>
              <a:gd name="connsiteY3" fmla="*/ 5147502 h 5148263"/>
              <a:gd name="connsiteX4" fmla="*/ 2700800 w 5525033"/>
              <a:gd name="connsiteY4" fmla="*/ 4762 h 5148263"/>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76373 w 3996271"/>
              <a:gd name="connsiteY4" fmla="*/ 5000447 h 5147502"/>
              <a:gd name="connsiteX5" fmla="*/ 2700800 w 3996271"/>
              <a:gd name="connsiteY5" fmla="*/ 4762 h 5147502"/>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3995704"/>
              <a:gd name="connsiteY0" fmla="*/ 4762 h 5416736"/>
              <a:gd name="connsiteX1" fmla="*/ 3991438 w 3995704"/>
              <a:gd name="connsiteY1" fmla="*/ 0 h 5416736"/>
              <a:gd name="connsiteX2" fmla="*/ 3995704 w 3995704"/>
              <a:gd name="connsiteY2" fmla="*/ 4990423 h 5416736"/>
              <a:gd name="connsiteX3" fmla="*/ 0 w 3995704"/>
              <a:gd name="connsiteY3" fmla="*/ 5147502 h 5416736"/>
              <a:gd name="connsiteX4" fmla="*/ 76373 w 3995704"/>
              <a:gd name="connsiteY4" fmla="*/ 5000447 h 5416736"/>
              <a:gd name="connsiteX5" fmla="*/ 2700800 w 3995704"/>
              <a:gd name="connsiteY5" fmla="*/ 4762 h 5416736"/>
              <a:gd name="connsiteX0" fmla="*/ 2624427 w 3919331"/>
              <a:gd name="connsiteY0" fmla="*/ 4762 h 5619584"/>
              <a:gd name="connsiteX1" fmla="*/ 3915065 w 3919331"/>
              <a:gd name="connsiteY1" fmla="*/ 0 h 5619584"/>
              <a:gd name="connsiteX2" fmla="*/ 3919331 w 3919331"/>
              <a:gd name="connsiteY2" fmla="*/ 4990423 h 5619584"/>
              <a:gd name="connsiteX3" fmla="*/ 0 w 3919331"/>
              <a:gd name="connsiteY3" fmla="*/ 5000447 h 5619584"/>
              <a:gd name="connsiteX4" fmla="*/ 2624427 w 3919331"/>
              <a:gd name="connsiteY4" fmla="*/ 4762 h 5619584"/>
              <a:gd name="connsiteX0" fmla="*/ 2624427 w 3919331"/>
              <a:gd name="connsiteY0" fmla="*/ 4762 h 5362318"/>
              <a:gd name="connsiteX1" fmla="*/ 3915065 w 3919331"/>
              <a:gd name="connsiteY1" fmla="*/ 0 h 5362318"/>
              <a:gd name="connsiteX2" fmla="*/ 3919331 w 3919331"/>
              <a:gd name="connsiteY2" fmla="*/ 4990423 h 5362318"/>
              <a:gd name="connsiteX3" fmla="*/ 0 w 3919331"/>
              <a:gd name="connsiteY3" fmla="*/ 5000447 h 5362318"/>
              <a:gd name="connsiteX4" fmla="*/ 2624427 w 3919331"/>
              <a:gd name="connsiteY4" fmla="*/ 4762 h 5362318"/>
              <a:gd name="connsiteX0" fmla="*/ 2624427 w 3919331"/>
              <a:gd name="connsiteY0" fmla="*/ 4762 h 5000447"/>
              <a:gd name="connsiteX1" fmla="*/ 3915065 w 3919331"/>
              <a:gd name="connsiteY1" fmla="*/ 0 h 5000447"/>
              <a:gd name="connsiteX2" fmla="*/ 3919331 w 3919331"/>
              <a:gd name="connsiteY2" fmla="*/ 4990423 h 5000447"/>
              <a:gd name="connsiteX3" fmla="*/ 0 w 3919331"/>
              <a:gd name="connsiteY3" fmla="*/ 5000447 h 5000447"/>
              <a:gd name="connsiteX4" fmla="*/ 2624427 w 3919331"/>
              <a:gd name="connsiteY4" fmla="*/ 4762 h 5000447"/>
              <a:gd name="connsiteX0" fmla="*/ 2678589 w 3919331"/>
              <a:gd name="connsiteY0" fmla="*/ 0 h 5080797"/>
              <a:gd name="connsiteX1" fmla="*/ 3915065 w 3919331"/>
              <a:gd name="connsiteY1" fmla="*/ 80350 h 5080797"/>
              <a:gd name="connsiteX2" fmla="*/ 3919331 w 3919331"/>
              <a:gd name="connsiteY2" fmla="*/ 5070773 h 5080797"/>
              <a:gd name="connsiteX3" fmla="*/ 0 w 3919331"/>
              <a:gd name="connsiteY3" fmla="*/ 5080797 h 5080797"/>
              <a:gd name="connsiteX4" fmla="*/ 2678589 w 3919331"/>
              <a:gd name="connsiteY4" fmla="*/ 0 h 5080797"/>
              <a:gd name="connsiteX0" fmla="*/ 2678589 w 3922803"/>
              <a:gd name="connsiteY0" fmla="*/ 893 h 5081690"/>
              <a:gd name="connsiteX1" fmla="*/ 3922803 w 3922803"/>
              <a:gd name="connsiteY1" fmla="*/ 0 h 5081690"/>
              <a:gd name="connsiteX2" fmla="*/ 3919331 w 3922803"/>
              <a:gd name="connsiteY2" fmla="*/ 5071666 h 5081690"/>
              <a:gd name="connsiteX3" fmla="*/ 0 w 3922803"/>
              <a:gd name="connsiteY3" fmla="*/ 5081690 h 5081690"/>
              <a:gd name="connsiteX4" fmla="*/ 2678589 w 3922803"/>
              <a:gd name="connsiteY4" fmla="*/ 893 h 5081690"/>
              <a:gd name="connsiteX0" fmla="*/ 2678589 w 3922803"/>
              <a:gd name="connsiteY0" fmla="*/ 10016 h 5090813"/>
              <a:gd name="connsiteX1" fmla="*/ 3791709 w 3922803"/>
              <a:gd name="connsiteY1" fmla="*/ 0 h 5090813"/>
              <a:gd name="connsiteX2" fmla="*/ 3922803 w 3922803"/>
              <a:gd name="connsiteY2" fmla="*/ 9123 h 5090813"/>
              <a:gd name="connsiteX3" fmla="*/ 3919331 w 3922803"/>
              <a:gd name="connsiteY3" fmla="*/ 5080789 h 5090813"/>
              <a:gd name="connsiteX4" fmla="*/ 0 w 3922803"/>
              <a:gd name="connsiteY4" fmla="*/ 5090813 h 5090813"/>
              <a:gd name="connsiteX5" fmla="*/ 2678589 w 3922803"/>
              <a:gd name="connsiteY5" fmla="*/ 10016 h 5090813"/>
              <a:gd name="connsiteX0" fmla="*/ 2678589 w 3922803"/>
              <a:gd name="connsiteY0" fmla="*/ 10016 h 5090813"/>
              <a:gd name="connsiteX1" fmla="*/ 3791709 w 3922803"/>
              <a:gd name="connsiteY1" fmla="*/ 0 h 5090813"/>
              <a:gd name="connsiteX2" fmla="*/ 3922803 w 3922803"/>
              <a:gd name="connsiteY2" fmla="*/ 9123 h 5090813"/>
              <a:gd name="connsiteX3" fmla="*/ 3919331 w 3922803"/>
              <a:gd name="connsiteY3" fmla="*/ 5080789 h 5090813"/>
              <a:gd name="connsiteX4" fmla="*/ 3791709 w 3922803"/>
              <a:gd name="connsiteY4" fmla="*/ 5076247 h 5090813"/>
              <a:gd name="connsiteX5" fmla="*/ 0 w 3922803"/>
              <a:gd name="connsiteY5" fmla="*/ 5090813 h 5090813"/>
              <a:gd name="connsiteX6" fmla="*/ 2678589 w 3922803"/>
              <a:gd name="connsiteY6" fmla="*/ 10016 h 5090813"/>
              <a:gd name="connsiteX0" fmla="*/ 2678589 w 4120653"/>
              <a:gd name="connsiteY0" fmla="*/ 10016 h 5090813"/>
              <a:gd name="connsiteX1" fmla="*/ 3791709 w 4120653"/>
              <a:gd name="connsiteY1" fmla="*/ 0 h 5090813"/>
              <a:gd name="connsiteX2" fmla="*/ 3922803 w 4120653"/>
              <a:gd name="connsiteY2" fmla="*/ 9123 h 5090813"/>
              <a:gd name="connsiteX3" fmla="*/ 3791709 w 4120653"/>
              <a:gd name="connsiteY3" fmla="*/ 5076247 h 5090813"/>
              <a:gd name="connsiteX4" fmla="*/ 0 w 4120653"/>
              <a:gd name="connsiteY4" fmla="*/ 5090813 h 5090813"/>
              <a:gd name="connsiteX5" fmla="*/ 2678589 w 4120653"/>
              <a:gd name="connsiteY5" fmla="*/ 10016 h 5090813"/>
              <a:gd name="connsiteX0" fmla="*/ 2678589 w 4111904"/>
              <a:gd name="connsiteY0" fmla="*/ 371665 h 5452462"/>
              <a:gd name="connsiteX1" fmla="*/ 3791709 w 4111904"/>
              <a:gd name="connsiteY1" fmla="*/ 361649 h 5452462"/>
              <a:gd name="connsiteX2" fmla="*/ 3922803 w 4111904"/>
              <a:gd name="connsiteY2" fmla="*/ 370772 h 5452462"/>
              <a:gd name="connsiteX3" fmla="*/ 3915520 w 4111904"/>
              <a:gd name="connsiteY3" fmla="*/ 376216 h 5452462"/>
              <a:gd name="connsiteX4" fmla="*/ 3791709 w 4111904"/>
              <a:gd name="connsiteY4" fmla="*/ 5437896 h 5452462"/>
              <a:gd name="connsiteX5" fmla="*/ 0 w 4111904"/>
              <a:gd name="connsiteY5" fmla="*/ 5452462 h 5452462"/>
              <a:gd name="connsiteX6" fmla="*/ 2678589 w 4111904"/>
              <a:gd name="connsiteY6" fmla="*/ 371665 h 5452462"/>
              <a:gd name="connsiteX0" fmla="*/ 2678589 w 4120653"/>
              <a:gd name="connsiteY0" fmla="*/ 10016 h 5090813"/>
              <a:gd name="connsiteX1" fmla="*/ 3791709 w 4120653"/>
              <a:gd name="connsiteY1" fmla="*/ 0 h 5090813"/>
              <a:gd name="connsiteX2" fmla="*/ 3922803 w 4120653"/>
              <a:gd name="connsiteY2" fmla="*/ 9123 h 5090813"/>
              <a:gd name="connsiteX3" fmla="*/ 3791709 w 4120653"/>
              <a:gd name="connsiteY3" fmla="*/ 5076247 h 5090813"/>
              <a:gd name="connsiteX4" fmla="*/ 0 w 4120653"/>
              <a:gd name="connsiteY4" fmla="*/ 5090813 h 5090813"/>
              <a:gd name="connsiteX5" fmla="*/ 2678589 w 4120653"/>
              <a:gd name="connsiteY5"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1292731 w 3791709"/>
              <a:gd name="connsiteY4" fmla="*/ 2638265 h 5090813"/>
              <a:gd name="connsiteX5" fmla="*/ 2678589 w 3791709"/>
              <a:gd name="connsiteY5" fmla="*/ 10016 h 5090813"/>
              <a:gd name="connsiteX0" fmla="*/ 2678589 w 3791709"/>
              <a:gd name="connsiteY0" fmla="*/ 10016 h 5090813"/>
              <a:gd name="connsiteX1" fmla="*/ 3791709 w 3791709"/>
              <a:gd name="connsiteY1" fmla="*/ 0 h 5090813"/>
              <a:gd name="connsiteX2" fmla="*/ 3790798 w 3791709"/>
              <a:gd name="connsiteY2" fmla="*/ 2638265 h 5090813"/>
              <a:gd name="connsiteX3" fmla="*/ 3791709 w 3791709"/>
              <a:gd name="connsiteY3" fmla="*/ 5076247 h 5090813"/>
              <a:gd name="connsiteX4" fmla="*/ 0 w 3791709"/>
              <a:gd name="connsiteY4" fmla="*/ 5090813 h 5090813"/>
              <a:gd name="connsiteX5" fmla="*/ 1292731 w 3791709"/>
              <a:gd name="connsiteY5" fmla="*/ 2638265 h 5090813"/>
              <a:gd name="connsiteX6" fmla="*/ 2678589 w 3791709"/>
              <a:gd name="connsiteY6" fmla="*/ 10016 h 5090813"/>
              <a:gd name="connsiteX0" fmla="*/ 1292731 w 3791709"/>
              <a:gd name="connsiteY0" fmla="*/ 2638265 h 5090813"/>
              <a:gd name="connsiteX1" fmla="*/ 3791709 w 3791709"/>
              <a:gd name="connsiteY1" fmla="*/ 0 h 5090813"/>
              <a:gd name="connsiteX2" fmla="*/ 3790798 w 3791709"/>
              <a:gd name="connsiteY2" fmla="*/ 2638265 h 5090813"/>
              <a:gd name="connsiteX3" fmla="*/ 3791709 w 3791709"/>
              <a:gd name="connsiteY3" fmla="*/ 5076247 h 5090813"/>
              <a:gd name="connsiteX4" fmla="*/ 0 w 3791709"/>
              <a:gd name="connsiteY4" fmla="*/ 5090813 h 5090813"/>
              <a:gd name="connsiteX5" fmla="*/ 1292731 w 3791709"/>
              <a:gd name="connsiteY5" fmla="*/ 2638265 h 5090813"/>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1709"/>
              <a:gd name="connsiteY0" fmla="*/ 3641 h 2456189"/>
              <a:gd name="connsiteX1" fmla="*/ 3292823 w 3791709"/>
              <a:gd name="connsiteY1" fmla="*/ 0 h 2456189"/>
              <a:gd name="connsiteX2" fmla="*/ 3790798 w 3791709"/>
              <a:gd name="connsiteY2" fmla="*/ 3641 h 2456189"/>
              <a:gd name="connsiteX3" fmla="*/ 3791709 w 3791709"/>
              <a:gd name="connsiteY3" fmla="*/ 2441623 h 2456189"/>
              <a:gd name="connsiteX4" fmla="*/ 0 w 3791709"/>
              <a:gd name="connsiteY4" fmla="*/ 2456189 h 2456189"/>
              <a:gd name="connsiteX5" fmla="*/ 1292731 w 3791709"/>
              <a:gd name="connsiteY5" fmla="*/ 3641 h 2456189"/>
              <a:gd name="connsiteX0" fmla="*/ 1292731 w 3791709"/>
              <a:gd name="connsiteY0" fmla="*/ 3641 h 2456189"/>
              <a:gd name="connsiteX1" fmla="*/ 3292823 w 3791709"/>
              <a:gd name="connsiteY1" fmla="*/ 0 h 2456189"/>
              <a:gd name="connsiteX2" fmla="*/ 3790798 w 3791709"/>
              <a:gd name="connsiteY2" fmla="*/ 3641 h 2456189"/>
              <a:gd name="connsiteX3" fmla="*/ 3791709 w 3791709"/>
              <a:gd name="connsiteY3" fmla="*/ 2441623 h 2456189"/>
              <a:gd name="connsiteX4" fmla="*/ 3287361 w 3791709"/>
              <a:gd name="connsiteY4" fmla="*/ 2447085 h 2456189"/>
              <a:gd name="connsiteX5" fmla="*/ 0 w 3791709"/>
              <a:gd name="connsiteY5" fmla="*/ 2456189 h 2456189"/>
              <a:gd name="connsiteX6" fmla="*/ 1292731 w 3791709"/>
              <a:gd name="connsiteY6" fmla="*/ 3641 h 2456189"/>
              <a:gd name="connsiteX0" fmla="*/ 1292731 w 3791709"/>
              <a:gd name="connsiteY0" fmla="*/ 3641 h 2456189"/>
              <a:gd name="connsiteX1" fmla="*/ 3292823 w 3791709"/>
              <a:gd name="connsiteY1" fmla="*/ 0 h 2456189"/>
              <a:gd name="connsiteX2" fmla="*/ 3790798 w 3791709"/>
              <a:gd name="connsiteY2" fmla="*/ 3641 h 2456189"/>
              <a:gd name="connsiteX3" fmla="*/ 3791709 w 3791709"/>
              <a:gd name="connsiteY3" fmla="*/ 2441623 h 2456189"/>
              <a:gd name="connsiteX4" fmla="*/ 3287361 w 3791709"/>
              <a:gd name="connsiteY4" fmla="*/ 2452548 h 2456189"/>
              <a:gd name="connsiteX5" fmla="*/ 0 w 3791709"/>
              <a:gd name="connsiteY5" fmla="*/ 2456189 h 2456189"/>
              <a:gd name="connsiteX6" fmla="*/ 1292731 w 3791709"/>
              <a:gd name="connsiteY6" fmla="*/ 3641 h 2456189"/>
              <a:gd name="connsiteX0" fmla="*/ 1292731 w 3801115"/>
              <a:gd name="connsiteY0" fmla="*/ 3641 h 2456189"/>
              <a:gd name="connsiteX1" fmla="*/ 3292823 w 3801115"/>
              <a:gd name="connsiteY1" fmla="*/ 0 h 2456189"/>
              <a:gd name="connsiteX2" fmla="*/ 3790798 w 3801115"/>
              <a:gd name="connsiteY2" fmla="*/ 3641 h 2456189"/>
              <a:gd name="connsiteX3" fmla="*/ 3287361 w 3801115"/>
              <a:gd name="connsiteY3" fmla="*/ 2452548 h 2456189"/>
              <a:gd name="connsiteX4" fmla="*/ 0 w 3801115"/>
              <a:gd name="connsiteY4" fmla="*/ 2456189 h 2456189"/>
              <a:gd name="connsiteX5" fmla="*/ 1292731 w 3801115"/>
              <a:gd name="connsiteY5" fmla="*/ 3641 h 2456189"/>
              <a:gd name="connsiteX0" fmla="*/ 1292731 w 3292823"/>
              <a:gd name="connsiteY0" fmla="*/ 3641 h 2456189"/>
              <a:gd name="connsiteX1" fmla="*/ 3292823 w 3292823"/>
              <a:gd name="connsiteY1" fmla="*/ 0 h 2456189"/>
              <a:gd name="connsiteX2" fmla="*/ 3287361 w 3292823"/>
              <a:gd name="connsiteY2" fmla="*/ 2452548 h 2456189"/>
              <a:gd name="connsiteX3" fmla="*/ 0 w 3292823"/>
              <a:gd name="connsiteY3" fmla="*/ 2456189 h 2456189"/>
              <a:gd name="connsiteX4" fmla="*/ 1292731 w 3292823"/>
              <a:gd name="connsiteY4" fmla="*/ 3641 h 2456189"/>
              <a:gd name="connsiteX0" fmla="*/ 1292731 w 3292823"/>
              <a:gd name="connsiteY0" fmla="*/ 3641 h 2456189"/>
              <a:gd name="connsiteX1" fmla="*/ 3292823 w 3292823"/>
              <a:gd name="connsiteY1" fmla="*/ 0 h 2456189"/>
              <a:gd name="connsiteX2" fmla="*/ 3287361 w 3292823"/>
              <a:gd name="connsiteY2" fmla="*/ 2452548 h 2456189"/>
              <a:gd name="connsiteX3" fmla="*/ 0 w 3292823"/>
              <a:gd name="connsiteY3" fmla="*/ 2456189 h 2456189"/>
              <a:gd name="connsiteX4" fmla="*/ 1292731 w 3292823"/>
              <a:gd name="connsiteY4" fmla="*/ 3641 h 2456189"/>
              <a:gd name="connsiteX0" fmla="*/ 1292731 w 3293333"/>
              <a:gd name="connsiteY0" fmla="*/ 3641 h 2456632"/>
              <a:gd name="connsiteX1" fmla="*/ 3292823 w 3293333"/>
              <a:gd name="connsiteY1" fmla="*/ 0 h 2456632"/>
              <a:gd name="connsiteX2" fmla="*/ 3292806 w 3293333"/>
              <a:gd name="connsiteY2" fmla="*/ 2456632 h 2456632"/>
              <a:gd name="connsiteX3" fmla="*/ 0 w 3293333"/>
              <a:gd name="connsiteY3" fmla="*/ 2456189 h 2456632"/>
              <a:gd name="connsiteX4" fmla="*/ 1292731 w 3293333"/>
              <a:gd name="connsiteY4" fmla="*/ 3641 h 2456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93333" h="2456632">
                <a:moveTo>
                  <a:pt x="1292731" y="3641"/>
                </a:moveTo>
                <a:lnTo>
                  <a:pt x="3292823" y="0"/>
                </a:lnTo>
                <a:cubicBezTo>
                  <a:pt x="3291002" y="817516"/>
                  <a:pt x="3294627" y="1639116"/>
                  <a:pt x="3292806" y="2456632"/>
                </a:cubicBezTo>
                <a:lnTo>
                  <a:pt x="0" y="2456189"/>
                </a:lnTo>
                <a:lnTo>
                  <a:pt x="1292731" y="3641"/>
                </a:lnTo>
                <a:close/>
              </a:path>
            </a:pathLst>
          </a:custGeom>
          <a:solidFill>
            <a:schemeClr val="bg1">
              <a:lumMod val="95000"/>
            </a:schemeClr>
          </a:solidFill>
          <a:ln>
            <a:noFill/>
          </a:ln>
        </p:spPr>
        <p:txBody>
          <a:bodyPr wrap="square" anchor="ctr" anchorCtr="1">
            <a:noAutofit/>
          </a:bodyPr>
          <a:lstStyle>
            <a:lvl1pPr algn="ctr">
              <a:defRPr>
                <a:solidFill>
                  <a:schemeClr val="tx1"/>
                </a:solidFill>
              </a:defRPr>
            </a:lvl1pPr>
          </a:lstStyle>
          <a:p>
            <a:r>
              <a:rPr lang="en-US" dirty="0"/>
              <a:t>Click icon to </a:t>
            </a:r>
            <a:br>
              <a:rPr lang="en-US" dirty="0"/>
            </a:br>
            <a:r>
              <a:rPr lang="en-US" dirty="0"/>
              <a:t>add picture</a:t>
            </a:r>
            <a:endParaRPr lang="en-GB" dirty="0"/>
          </a:p>
        </p:txBody>
      </p:sp>
      <p:sp>
        <p:nvSpPr>
          <p:cNvPr id="7" name="Text Placeholder 9"/>
          <p:cNvSpPr>
            <a:spLocks noGrp="1"/>
          </p:cNvSpPr>
          <p:nvPr>
            <p:ph type="body" sz="quarter" idx="14" hasCustomPrompt="1"/>
            <p:custDataLst>
              <p:tags r:id="rId3"/>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30960628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One Column with Edge Thre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custDataLst>
              <p:tags r:id="rId1"/>
            </p:custDataLst>
            <p:extLst>
              <p:ext uri="{D42A27DB-BD31-4B8C-83A1-F6EECF244321}">
                <p14:modId xmlns:p14="http://schemas.microsoft.com/office/powerpoint/2010/main" val="2473783290"/>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0" y="0"/>
                        <a:ext cx="112252" cy="224510"/>
                      </a:xfrm>
                      <a:prstGeom prst="rect">
                        <a:avLst/>
                      </a:prstGeom>
                    </p:spPr>
                  </p:pic>
                </p:oleObj>
              </mc:Fallback>
            </mc:AlternateContent>
          </a:graphicData>
        </a:graphic>
      </p:graphicFrame>
      <p:sp>
        <p:nvSpPr>
          <p:cNvPr id="15" name="Subtitle 2"/>
          <p:cNvSpPr>
            <a:spLocks noGrp="1"/>
          </p:cNvSpPr>
          <p:nvPr>
            <p:ph type="subTitle" idx="1" hasCustomPrompt="1"/>
            <p:custDataLst>
              <p:tags r:id="rId2"/>
            </p:custDataLst>
          </p:nvPr>
        </p:nvSpPr>
        <p:spPr>
          <a:xfrm>
            <a:off x="684000" y="1817688"/>
            <a:ext cx="2977200" cy="234833"/>
          </a:xfrm>
          <a:prstGeom prst="rect">
            <a:avLst/>
          </a:prstGeom>
        </p:spPr>
        <p:txBody>
          <a:bodyPr/>
          <a:lstStyle>
            <a:lvl1pPr marL="0" marR="0" indent="0" algn="l" defTabSz="995690" rtl="0" eaLnBrk="1" fontAlgn="auto" latinLnBrk="0" hangingPunct="1">
              <a:lnSpc>
                <a:spcPct val="100000"/>
              </a:lnSpc>
              <a:spcBef>
                <a:spcPts val="0"/>
              </a:spcBef>
              <a:spcAft>
                <a:spcPts val="600"/>
              </a:spcAft>
              <a:buClrTx/>
              <a:buSzTx/>
              <a:buFont typeface="Arial" panose="020B0604020202020204" pitchFamily="34" charset="0"/>
              <a:buNone/>
              <a:tabLst/>
              <a:defRPr sz="1200" b="0">
                <a:solidFill>
                  <a:schemeClr val="tx1"/>
                </a:solidFill>
              </a:defRPr>
            </a:lvl1pPr>
            <a:lvl2pPr marL="497845" indent="0" algn="ctr">
              <a:buNone/>
              <a:defRPr>
                <a:solidFill>
                  <a:schemeClr val="tx1">
                    <a:tint val="75000"/>
                  </a:schemeClr>
                </a:solidFill>
              </a:defRPr>
            </a:lvl2pPr>
            <a:lvl3pPr marL="995690" indent="0" algn="ctr">
              <a:buNone/>
              <a:defRPr>
                <a:solidFill>
                  <a:schemeClr val="tx1">
                    <a:tint val="75000"/>
                  </a:schemeClr>
                </a:solidFill>
              </a:defRPr>
            </a:lvl3pPr>
            <a:lvl4pPr marL="1493535" indent="0" algn="ctr">
              <a:buNone/>
              <a:defRPr>
                <a:solidFill>
                  <a:schemeClr val="tx1">
                    <a:tint val="75000"/>
                  </a:schemeClr>
                </a:solidFill>
              </a:defRPr>
            </a:lvl4pPr>
            <a:lvl5pPr marL="1991380" indent="0" algn="ctr">
              <a:buNone/>
              <a:defRPr>
                <a:solidFill>
                  <a:schemeClr val="tx1">
                    <a:tint val="75000"/>
                  </a:schemeClr>
                </a:solidFill>
              </a:defRPr>
            </a:lvl5pPr>
            <a:lvl6pPr marL="2489225" indent="0" algn="ctr">
              <a:buNone/>
              <a:defRPr>
                <a:solidFill>
                  <a:schemeClr val="tx1">
                    <a:tint val="75000"/>
                  </a:schemeClr>
                </a:solidFill>
              </a:defRPr>
            </a:lvl6pPr>
            <a:lvl7pPr marL="2987070" indent="0" algn="ctr">
              <a:buNone/>
              <a:defRPr>
                <a:solidFill>
                  <a:schemeClr val="tx1">
                    <a:tint val="75000"/>
                  </a:schemeClr>
                </a:solidFill>
              </a:defRPr>
            </a:lvl7pPr>
            <a:lvl8pPr marL="3484916" indent="0" algn="ctr">
              <a:buNone/>
              <a:defRPr>
                <a:solidFill>
                  <a:schemeClr val="tx1">
                    <a:tint val="75000"/>
                  </a:schemeClr>
                </a:solidFill>
              </a:defRPr>
            </a:lvl8pPr>
            <a:lvl9pPr marL="3982761" indent="0" algn="ctr">
              <a:buNone/>
              <a:defRPr>
                <a:solidFill>
                  <a:schemeClr val="tx1">
                    <a:tint val="75000"/>
                  </a:schemeClr>
                </a:solidFill>
              </a:defRPr>
            </a:lvl9pPr>
          </a:lstStyle>
          <a:p>
            <a:r>
              <a:rPr lang="en-US" dirty="0"/>
              <a:t>Click to edit sub-title</a:t>
            </a:r>
          </a:p>
        </p:txBody>
      </p:sp>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7" name="Picture Placeholder 14"/>
          <p:cNvSpPr>
            <a:spLocks noGrp="1"/>
          </p:cNvSpPr>
          <p:nvPr>
            <p:ph type="pic" sz="quarter" idx="18"/>
            <p:custDataLst>
              <p:tags r:id="rId3"/>
            </p:custDataLst>
          </p:nvPr>
        </p:nvSpPr>
        <p:spPr>
          <a:xfrm>
            <a:off x="4179237" y="1813211"/>
            <a:ext cx="3393137" cy="4442446"/>
          </a:xfrm>
          <a:custGeom>
            <a:avLst/>
            <a:gdLst>
              <a:gd name="connsiteX0" fmla="*/ 0 w 5600700"/>
              <a:gd name="connsiteY0" fmla="*/ 6127560 h 6128669"/>
              <a:gd name="connsiteX1" fmla="*/ 2109 w 5600700"/>
              <a:gd name="connsiteY1" fmla="*/ 6128669 h 6128669"/>
              <a:gd name="connsiteX2" fmla="*/ 0 w 5600700"/>
              <a:gd name="connsiteY2" fmla="*/ 6128669 h 6128669"/>
              <a:gd name="connsiteX3" fmla="*/ 3229524 w 5600700"/>
              <a:gd name="connsiteY3" fmla="*/ 0 h 6128669"/>
              <a:gd name="connsiteX4" fmla="*/ 5600700 w 5600700"/>
              <a:gd name="connsiteY4" fmla="*/ 0 h 6128669"/>
              <a:gd name="connsiteX5" fmla="*/ 5600700 w 5600700"/>
              <a:gd name="connsiteY5" fmla="*/ 6128669 h 6128669"/>
              <a:gd name="connsiteX6" fmla="*/ 2109 w 5600700"/>
              <a:gd name="connsiteY6" fmla="*/ 6128669 h 6128669"/>
              <a:gd name="connsiteX0" fmla="*/ 188391 w 5789091"/>
              <a:gd name="connsiteY0" fmla="*/ 6127560 h 6142896"/>
              <a:gd name="connsiteX1" fmla="*/ 190500 w 5789091"/>
              <a:gd name="connsiteY1" fmla="*/ 6128669 h 6142896"/>
              <a:gd name="connsiteX2" fmla="*/ 188391 w 5789091"/>
              <a:gd name="connsiteY2" fmla="*/ 6128669 h 6142896"/>
              <a:gd name="connsiteX3" fmla="*/ 188391 w 5789091"/>
              <a:gd name="connsiteY3" fmla="*/ 6127560 h 6142896"/>
              <a:gd name="connsiteX4" fmla="*/ 3417915 w 5789091"/>
              <a:gd name="connsiteY4" fmla="*/ 0 h 6142896"/>
              <a:gd name="connsiteX5" fmla="*/ 5789091 w 5789091"/>
              <a:gd name="connsiteY5" fmla="*/ 0 h 6142896"/>
              <a:gd name="connsiteX6" fmla="*/ 5789091 w 5789091"/>
              <a:gd name="connsiteY6" fmla="*/ 6128669 h 6142896"/>
              <a:gd name="connsiteX7" fmla="*/ 0 w 5789091"/>
              <a:gd name="connsiteY7" fmla="*/ 6142896 h 6142896"/>
              <a:gd name="connsiteX8" fmla="*/ 3417915 w 5789091"/>
              <a:gd name="connsiteY8" fmla="*/ 0 h 6142896"/>
              <a:gd name="connsiteX0" fmla="*/ 188391 w 5789091"/>
              <a:gd name="connsiteY0" fmla="*/ 6128669 h 6142896"/>
              <a:gd name="connsiteX1" fmla="*/ 190500 w 5789091"/>
              <a:gd name="connsiteY1" fmla="*/ 6128669 h 6142896"/>
              <a:gd name="connsiteX2" fmla="*/ 188391 w 5789091"/>
              <a:gd name="connsiteY2" fmla="*/ 6128669 h 6142896"/>
              <a:gd name="connsiteX3" fmla="*/ 3417915 w 5789091"/>
              <a:gd name="connsiteY3" fmla="*/ 0 h 6142896"/>
              <a:gd name="connsiteX4" fmla="*/ 5789091 w 5789091"/>
              <a:gd name="connsiteY4" fmla="*/ 0 h 6142896"/>
              <a:gd name="connsiteX5" fmla="*/ 5789091 w 5789091"/>
              <a:gd name="connsiteY5" fmla="*/ 6128669 h 6142896"/>
              <a:gd name="connsiteX6" fmla="*/ 0 w 5789091"/>
              <a:gd name="connsiteY6" fmla="*/ 6142896 h 6142896"/>
              <a:gd name="connsiteX7" fmla="*/ 3417915 w 5789091"/>
              <a:gd name="connsiteY7" fmla="*/ 0 h 6142896"/>
              <a:gd name="connsiteX0" fmla="*/ 3417915 w 5789091"/>
              <a:gd name="connsiteY0" fmla="*/ 0 h 6142896"/>
              <a:gd name="connsiteX1" fmla="*/ 5789091 w 5789091"/>
              <a:gd name="connsiteY1" fmla="*/ 0 h 6142896"/>
              <a:gd name="connsiteX2" fmla="*/ 5789091 w 5789091"/>
              <a:gd name="connsiteY2" fmla="*/ 6128669 h 6142896"/>
              <a:gd name="connsiteX3" fmla="*/ 0 w 5789091"/>
              <a:gd name="connsiteY3" fmla="*/ 6142896 h 6142896"/>
              <a:gd name="connsiteX4" fmla="*/ 3417915 w 5789091"/>
              <a:gd name="connsiteY4" fmla="*/ 0 h 6142896"/>
              <a:gd name="connsiteX0" fmla="*/ 3242655 w 5613831"/>
              <a:gd name="connsiteY0" fmla="*/ 0 h 6128669"/>
              <a:gd name="connsiteX1" fmla="*/ 5613831 w 5613831"/>
              <a:gd name="connsiteY1" fmla="*/ 0 h 6128669"/>
              <a:gd name="connsiteX2" fmla="*/ 5613831 w 5613831"/>
              <a:gd name="connsiteY2" fmla="*/ 6128669 h 6128669"/>
              <a:gd name="connsiteX3" fmla="*/ 0 w 5613831"/>
              <a:gd name="connsiteY3" fmla="*/ 6085992 h 6128669"/>
              <a:gd name="connsiteX4" fmla="*/ 3242655 w 5613831"/>
              <a:gd name="connsiteY4" fmla="*/ 0 h 6128669"/>
              <a:gd name="connsiteX0" fmla="*/ 3402675 w 5773851"/>
              <a:gd name="connsiteY0" fmla="*/ 0 h 6128670"/>
              <a:gd name="connsiteX1" fmla="*/ 5773851 w 5773851"/>
              <a:gd name="connsiteY1" fmla="*/ 0 h 6128670"/>
              <a:gd name="connsiteX2" fmla="*/ 5773851 w 5773851"/>
              <a:gd name="connsiteY2" fmla="*/ 6128669 h 6128670"/>
              <a:gd name="connsiteX3" fmla="*/ 0 w 5773851"/>
              <a:gd name="connsiteY3" fmla="*/ 6128670 h 6128670"/>
              <a:gd name="connsiteX4" fmla="*/ 3402675 w 5773851"/>
              <a:gd name="connsiteY4" fmla="*/ 0 h 6128670"/>
              <a:gd name="connsiteX0" fmla="*/ 3455062 w 5826238"/>
              <a:gd name="connsiteY0" fmla="*/ 0 h 6133115"/>
              <a:gd name="connsiteX1" fmla="*/ 5826238 w 5826238"/>
              <a:gd name="connsiteY1" fmla="*/ 0 h 6133115"/>
              <a:gd name="connsiteX2" fmla="*/ 5826238 w 5826238"/>
              <a:gd name="connsiteY2" fmla="*/ 6128669 h 6133115"/>
              <a:gd name="connsiteX3" fmla="*/ 0 w 5826238"/>
              <a:gd name="connsiteY3" fmla="*/ 6133115 h 6133115"/>
              <a:gd name="connsiteX4" fmla="*/ 3455062 w 5826238"/>
              <a:gd name="connsiteY4" fmla="*/ 0 h 6133115"/>
              <a:gd name="connsiteX0" fmla="*/ 3455062 w 5826238"/>
              <a:gd name="connsiteY0" fmla="*/ 0 h 6133115"/>
              <a:gd name="connsiteX1" fmla="*/ 5826238 w 5826238"/>
              <a:gd name="connsiteY1" fmla="*/ 0 h 6133115"/>
              <a:gd name="connsiteX2" fmla="*/ 5826238 w 5826238"/>
              <a:gd name="connsiteY2" fmla="*/ 6128669 h 6133115"/>
              <a:gd name="connsiteX3" fmla="*/ 0 w 5826238"/>
              <a:gd name="connsiteY3" fmla="*/ 6133115 h 6133115"/>
              <a:gd name="connsiteX4" fmla="*/ 3455062 w 5826238"/>
              <a:gd name="connsiteY4" fmla="*/ 0 h 6133115"/>
              <a:gd name="connsiteX0" fmla="*/ 2686712 w 5057888"/>
              <a:gd name="connsiteY0" fmla="*/ 0 h 6128669"/>
              <a:gd name="connsiteX1" fmla="*/ 5057888 w 5057888"/>
              <a:gd name="connsiteY1" fmla="*/ 0 h 6128669"/>
              <a:gd name="connsiteX2" fmla="*/ 5057888 w 5057888"/>
              <a:gd name="connsiteY2" fmla="*/ 6128669 h 6128669"/>
              <a:gd name="connsiteX3" fmla="*/ 0 w 5057888"/>
              <a:gd name="connsiteY3" fmla="*/ 5818959 h 6128669"/>
              <a:gd name="connsiteX4" fmla="*/ 2686712 w 5057888"/>
              <a:gd name="connsiteY4" fmla="*/ 0 h 6128669"/>
              <a:gd name="connsiteX0" fmla="*/ 3448712 w 5819888"/>
              <a:gd name="connsiteY0" fmla="*/ 0 h 6139043"/>
              <a:gd name="connsiteX1" fmla="*/ 5819888 w 5819888"/>
              <a:gd name="connsiteY1" fmla="*/ 0 h 6139043"/>
              <a:gd name="connsiteX2" fmla="*/ 5819888 w 5819888"/>
              <a:gd name="connsiteY2" fmla="*/ 6128669 h 6139043"/>
              <a:gd name="connsiteX3" fmla="*/ 0 w 5819888"/>
              <a:gd name="connsiteY3" fmla="*/ 6139043 h 6139043"/>
              <a:gd name="connsiteX4" fmla="*/ 3448712 w 5819888"/>
              <a:gd name="connsiteY4" fmla="*/ 0 h 6139043"/>
              <a:gd name="connsiteX0" fmla="*/ 2870185 w 5819888"/>
              <a:gd name="connsiteY0" fmla="*/ 0 h 6152671"/>
              <a:gd name="connsiteX1" fmla="*/ 5819888 w 5819888"/>
              <a:gd name="connsiteY1" fmla="*/ 13628 h 6152671"/>
              <a:gd name="connsiteX2" fmla="*/ 5819888 w 5819888"/>
              <a:gd name="connsiteY2" fmla="*/ 6142297 h 6152671"/>
              <a:gd name="connsiteX3" fmla="*/ 0 w 5819888"/>
              <a:gd name="connsiteY3" fmla="*/ 6152671 h 6152671"/>
              <a:gd name="connsiteX4" fmla="*/ 2870185 w 5819888"/>
              <a:gd name="connsiteY4" fmla="*/ 0 h 6152671"/>
              <a:gd name="connsiteX0" fmla="*/ 2870185 w 5819888"/>
              <a:gd name="connsiteY0" fmla="*/ 27252 h 6139043"/>
              <a:gd name="connsiteX1" fmla="*/ 5819888 w 5819888"/>
              <a:gd name="connsiteY1" fmla="*/ 0 h 6139043"/>
              <a:gd name="connsiteX2" fmla="*/ 5819888 w 5819888"/>
              <a:gd name="connsiteY2" fmla="*/ 6128669 h 6139043"/>
              <a:gd name="connsiteX3" fmla="*/ 0 w 5819888"/>
              <a:gd name="connsiteY3" fmla="*/ 6139043 h 6139043"/>
              <a:gd name="connsiteX4" fmla="*/ 2870185 w 5819888"/>
              <a:gd name="connsiteY4" fmla="*/ 27252 h 6139043"/>
              <a:gd name="connsiteX0" fmla="*/ 2870185 w 5819888"/>
              <a:gd name="connsiteY0" fmla="*/ 27252 h 6139043"/>
              <a:gd name="connsiteX1" fmla="*/ 5819888 w 5819888"/>
              <a:gd name="connsiteY1" fmla="*/ 0 h 6139043"/>
              <a:gd name="connsiteX2" fmla="*/ 5819888 w 5819888"/>
              <a:gd name="connsiteY2" fmla="*/ 6128669 h 6139043"/>
              <a:gd name="connsiteX3" fmla="*/ 0 w 5819888"/>
              <a:gd name="connsiteY3" fmla="*/ 6139043 h 6139043"/>
              <a:gd name="connsiteX4" fmla="*/ 2858953 w 5819888"/>
              <a:gd name="connsiteY4" fmla="*/ 9081 h 6139043"/>
              <a:gd name="connsiteX5" fmla="*/ 2870185 w 5819888"/>
              <a:gd name="connsiteY5" fmla="*/ 27252 h 6139043"/>
              <a:gd name="connsiteX0" fmla="*/ 2858953 w 5819888"/>
              <a:gd name="connsiteY0" fmla="*/ 9081 h 6139043"/>
              <a:gd name="connsiteX1" fmla="*/ 5819888 w 5819888"/>
              <a:gd name="connsiteY1" fmla="*/ 0 h 6139043"/>
              <a:gd name="connsiteX2" fmla="*/ 5819888 w 5819888"/>
              <a:gd name="connsiteY2" fmla="*/ 6128669 h 6139043"/>
              <a:gd name="connsiteX3" fmla="*/ 0 w 5819888"/>
              <a:gd name="connsiteY3" fmla="*/ 6139043 h 6139043"/>
              <a:gd name="connsiteX4" fmla="*/ 2858953 w 5819888"/>
              <a:gd name="connsiteY4" fmla="*/ 9081 h 6139043"/>
              <a:gd name="connsiteX0" fmla="*/ 2871005 w 5819888"/>
              <a:gd name="connsiteY0" fmla="*/ 2269 h 6139043"/>
              <a:gd name="connsiteX1" fmla="*/ 5819888 w 5819888"/>
              <a:gd name="connsiteY1" fmla="*/ 0 h 6139043"/>
              <a:gd name="connsiteX2" fmla="*/ 5819888 w 5819888"/>
              <a:gd name="connsiteY2" fmla="*/ 6128669 h 6139043"/>
              <a:gd name="connsiteX3" fmla="*/ 0 w 5819888"/>
              <a:gd name="connsiteY3" fmla="*/ 6139043 h 6139043"/>
              <a:gd name="connsiteX4" fmla="*/ 2871005 w 5819888"/>
              <a:gd name="connsiteY4" fmla="*/ 2269 h 6139043"/>
              <a:gd name="connsiteX0" fmla="*/ 2858951 w 5819888"/>
              <a:gd name="connsiteY0" fmla="*/ 36334 h 6139043"/>
              <a:gd name="connsiteX1" fmla="*/ 5819888 w 5819888"/>
              <a:gd name="connsiteY1" fmla="*/ 0 h 6139043"/>
              <a:gd name="connsiteX2" fmla="*/ 5819888 w 5819888"/>
              <a:gd name="connsiteY2" fmla="*/ 6128669 h 6139043"/>
              <a:gd name="connsiteX3" fmla="*/ 0 w 5819888"/>
              <a:gd name="connsiteY3" fmla="*/ 6139043 h 6139043"/>
              <a:gd name="connsiteX4" fmla="*/ 2858951 w 5819888"/>
              <a:gd name="connsiteY4" fmla="*/ 36334 h 6139043"/>
              <a:gd name="connsiteX0" fmla="*/ 2871005 w 5819888"/>
              <a:gd name="connsiteY0" fmla="*/ 2269 h 6139043"/>
              <a:gd name="connsiteX1" fmla="*/ 5819888 w 5819888"/>
              <a:gd name="connsiteY1" fmla="*/ 0 h 6139043"/>
              <a:gd name="connsiteX2" fmla="*/ 5819888 w 5819888"/>
              <a:gd name="connsiteY2" fmla="*/ 6128669 h 6139043"/>
              <a:gd name="connsiteX3" fmla="*/ 0 w 5819888"/>
              <a:gd name="connsiteY3" fmla="*/ 6139043 h 6139043"/>
              <a:gd name="connsiteX4" fmla="*/ 2871005 w 5819888"/>
              <a:gd name="connsiteY4" fmla="*/ 2269 h 6139043"/>
              <a:gd name="connsiteX0" fmla="*/ 2858951 w 5819888"/>
              <a:gd name="connsiteY0" fmla="*/ 2269 h 6139043"/>
              <a:gd name="connsiteX1" fmla="*/ 5819888 w 5819888"/>
              <a:gd name="connsiteY1" fmla="*/ 0 h 6139043"/>
              <a:gd name="connsiteX2" fmla="*/ 5819888 w 5819888"/>
              <a:gd name="connsiteY2" fmla="*/ 6128669 h 6139043"/>
              <a:gd name="connsiteX3" fmla="*/ 0 w 5819888"/>
              <a:gd name="connsiteY3" fmla="*/ 6139043 h 6139043"/>
              <a:gd name="connsiteX4" fmla="*/ 2858951 w 5819888"/>
              <a:gd name="connsiteY4" fmla="*/ 2269 h 6139043"/>
              <a:gd name="connsiteX0" fmla="*/ 2858951 w 5819888"/>
              <a:gd name="connsiteY0" fmla="*/ 2269 h 6165005"/>
              <a:gd name="connsiteX1" fmla="*/ 5819888 w 5819888"/>
              <a:gd name="connsiteY1" fmla="*/ 0 h 6165005"/>
              <a:gd name="connsiteX2" fmla="*/ 5819888 w 5819888"/>
              <a:gd name="connsiteY2" fmla="*/ 6165005 h 6165005"/>
              <a:gd name="connsiteX3" fmla="*/ 0 w 5819888"/>
              <a:gd name="connsiteY3" fmla="*/ 6139043 h 6165005"/>
              <a:gd name="connsiteX4" fmla="*/ 2858951 w 5819888"/>
              <a:gd name="connsiteY4" fmla="*/ 2269 h 6165005"/>
              <a:gd name="connsiteX0" fmla="*/ 2858951 w 5819888"/>
              <a:gd name="connsiteY0" fmla="*/ 2269 h 6139043"/>
              <a:gd name="connsiteX1" fmla="*/ 5819888 w 5819888"/>
              <a:gd name="connsiteY1" fmla="*/ 0 h 6139043"/>
              <a:gd name="connsiteX2" fmla="*/ 5819888 w 5819888"/>
              <a:gd name="connsiteY2" fmla="*/ 6137752 h 6139043"/>
              <a:gd name="connsiteX3" fmla="*/ 0 w 5819888"/>
              <a:gd name="connsiteY3" fmla="*/ 6139043 h 6139043"/>
              <a:gd name="connsiteX4" fmla="*/ 2858951 w 5819888"/>
              <a:gd name="connsiteY4" fmla="*/ 2269 h 6139043"/>
              <a:gd name="connsiteX0" fmla="*/ 2858951 w 5819888"/>
              <a:gd name="connsiteY0" fmla="*/ 2269 h 6139043"/>
              <a:gd name="connsiteX1" fmla="*/ 5210746 w 5819888"/>
              <a:gd name="connsiteY1" fmla="*/ 5235 h 6139043"/>
              <a:gd name="connsiteX2" fmla="*/ 5819888 w 5819888"/>
              <a:gd name="connsiteY2" fmla="*/ 0 h 6139043"/>
              <a:gd name="connsiteX3" fmla="*/ 5819888 w 5819888"/>
              <a:gd name="connsiteY3" fmla="*/ 6137752 h 6139043"/>
              <a:gd name="connsiteX4" fmla="*/ 0 w 5819888"/>
              <a:gd name="connsiteY4" fmla="*/ 6139043 h 6139043"/>
              <a:gd name="connsiteX5" fmla="*/ 2858951 w 5819888"/>
              <a:gd name="connsiteY5" fmla="*/ 2269 h 6139043"/>
              <a:gd name="connsiteX0" fmla="*/ 2858951 w 5819888"/>
              <a:gd name="connsiteY0" fmla="*/ 2269 h 6147445"/>
              <a:gd name="connsiteX1" fmla="*/ 5210746 w 5819888"/>
              <a:gd name="connsiteY1" fmla="*/ 5235 h 6147445"/>
              <a:gd name="connsiteX2" fmla="*/ 5819888 w 5819888"/>
              <a:gd name="connsiteY2" fmla="*/ 0 h 6147445"/>
              <a:gd name="connsiteX3" fmla="*/ 5819888 w 5819888"/>
              <a:gd name="connsiteY3" fmla="*/ 6137752 h 6147445"/>
              <a:gd name="connsiteX4" fmla="*/ 5243673 w 5819888"/>
              <a:gd name="connsiteY4" fmla="*/ 6147445 h 6147445"/>
              <a:gd name="connsiteX5" fmla="*/ 0 w 5819888"/>
              <a:gd name="connsiteY5" fmla="*/ 6139043 h 6147445"/>
              <a:gd name="connsiteX6" fmla="*/ 2858951 w 5819888"/>
              <a:gd name="connsiteY6" fmla="*/ 2269 h 6147445"/>
              <a:gd name="connsiteX0" fmla="*/ 2858951 w 5819888"/>
              <a:gd name="connsiteY0" fmla="*/ 2269 h 6147445"/>
              <a:gd name="connsiteX1" fmla="*/ 5210746 w 5819888"/>
              <a:gd name="connsiteY1" fmla="*/ 5235 h 6147445"/>
              <a:gd name="connsiteX2" fmla="*/ 5819888 w 5819888"/>
              <a:gd name="connsiteY2" fmla="*/ 0 h 6147445"/>
              <a:gd name="connsiteX3" fmla="*/ 5243673 w 5819888"/>
              <a:gd name="connsiteY3" fmla="*/ 6147445 h 6147445"/>
              <a:gd name="connsiteX4" fmla="*/ 0 w 5819888"/>
              <a:gd name="connsiteY4" fmla="*/ 6139043 h 6147445"/>
              <a:gd name="connsiteX5" fmla="*/ 2858951 w 5819888"/>
              <a:gd name="connsiteY5" fmla="*/ 2269 h 6147445"/>
              <a:gd name="connsiteX0" fmla="*/ 2858951 w 5243673"/>
              <a:gd name="connsiteY0" fmla="*/ 0 h 6145176"/>
              <a:gd name="connsiteX1" fmla="*/ 5210746 w 5243673"/>
              <a:gd name="connsiteY1" fmla="*/ 2966 h 6145176"/>
              <a:gd name="connsiteX2" fmla="*/ 5243673 w 5243673"/>
              <a:gd name="connsiteY2" fmla="*/ 6145176 h 6145176"/>
              <a:gd name="connsiteX3" fmla="*/ 0 w 5243673"/>
              <a:gd name="connsiteY3" fmla="*/ 6136774 h 6145176"/>
              <a:gd name="connsiteX4" fmla="*/ 2858951 w 5243673"/>
              <a:gd name="connsiteY4" fmla="*/ 0 h 6145176"/>
              <a:gd name="connsiteX0" fmla="*/ 2858951 w 5249618"/>
              <a:gd name="connsiteY0" fmla="*/ 0 h 6145176"/>
              <a:gd name="connsiteX1" fmla="*/ 5249618 w 5249618"/>
              <a:gd name="connsiteY1" fmla="*/ 11756 h 6145176"/>
              <a:gd name="connsiteX2" fmla="*/ 5243673 w 5249618"/>
              <a:gd name="connsiteY2" fmla="*/ 6145176 h 6145176"/>
              <a:gd name="connsiteX3" fmla="*/ 0 w 5249618"/>
              <a:gd name="connsiteY3" fmla="*/ 6136774 h 6145176"/>
              <a:gd name="connsiteX4" fmla="*/ 2858951 w 5249618"/>
              <a:gd name="connsiteY4" fmla="*/ 0 h 6145176"/>
              <a:gd name="connsiteX0" fmla="*/ 2858951 w 5249618"/>
              <a:gd name="connsiteY0" fmla="*/ 0 h 6145176"/>
              <a:gd name="connsiteX1" fmla="*/ 4154233 w 5249618"/>
              <a:gd name="connsiteY1" fmla="*/ 1488 h 6145176"/>
              <a:gd name="connsiteX2" fmla="*/ 5249618 w 5249618"/>
              <a:gd name="connsiteY2" fmla="*/ 11756 h 6145176"/>
              <a:gd name="connsiteX3" fmla="*/ 5243673 w 5249618"/>
              <a:gd name="connsiteY3" fmla="*/ 6145176 h 6145176"/>
              <a:gd name="connsiteX4" fmla="*/ 0 w 5249618"/>
              <a:gd name="connsiteY4" fmla="*/ 6136774 h 6145176"/>
              <a:gd name="connsiteX5" fmla="*/ 2858951 w 5249618"/>
              <a:gd name="connsiteY5" fmla="*/ 0 h 6145176"/>
              <a:gd name="connsiteX0" fmla="*/ 2858951 w 5249618"/>
              <a:gd name="connsiteY0" fmla="*/ 0 h 6149016"/>
              <a:gd name="connsiteX1" fmla="*/ 4154233 w 5249618"/>
              <a:gd name="connsiteY1" fmla="*/ 1488 h 6149016"/>
              <a:gd name="connsiteX2" fmla="*/ 5249618 w 5249618"/>
              <a:gd name="connsiteY2" fmla="*/ 11756 h 6149016"/>
              <a:gd name="connsiteX3" fmla="*/ 5243673 w 5249618"/>
              <a:gd name="connsiteY3" fmla="*/ 6145176 h 6149016"/>
              <a:gd name="connsiteX4" fmla="*/ 4136463 w 5249618"/>
              <a:gd name="connsiteY4" fmla="*/ 6149016 h 6149016"/>
              <a:gd name="connsiteX5" fmla="*/ 0 w 5249618"/>
              <a:gd name="connsiteY5" fmla="*/ 6136774 h 6149016"/>
              <a:gd name="connsiteX6" fmla="*/ 2858951 w 5249618"/>
              <a:gd name="connsiteY6" fmla="*/ 0 h 6149016"/>
              <a:gd name="connsiteX0" fmla="*/ 2858951 w 5243673"/>
              <a:gd name="connsiteY0" fmla="*/ 0 h 6149016"/>
              <a:gd name="connsiteX1" fmla="*/ 4154233 w 5243673"/>
              <a:gd name="connsiteY1" fmla="*/ 1488 h 6149016"/>
              <a:gd name="connsiteX2" fmla="*/ 5243673 w 5243673"/>
              <a:gd name="connsiteY2" fmla="*/ 6145176 h 6149016"/>
              <a:gd name="connsiteX3" fmla="*/ 4136463 w 5243673"/>
              <a:gd name="connsiteY3" fmla="*/ 6149016 h 6149016"/>
              <a:gd name="connsiteX4" fmla="*/ 0 w 5243673"/>
              <a:gd name="connsiteY4" fmla="*/ 6136774 h 6149016"/>
              <a:gd name="connsiteX5" fmla="*/ 2858951 w 5243673"/>
              <a:gd name="connsiteY5" fmla="*/ 0 h 6149016"/>
              <a:gd name="connsiteX0" fmla="*/ 2858951 w 4154233"/>
              <a:gd name="connsiteY0" fmla="*/ 0 h 6149016"/>
              <a:gd name="connsiteX1" fmla="*/ 4154233 w 4154233"/>
              <a:gd name="connsiteY1" fmla="*/ 1488 h 6149016"/>
              <a:gd name="connsiteX2" fmla="*/ 4136463 w 4154233"/>
              <a:gd name="connsiteY2" fmla="*/ 6149016 h 6149016"/>
              <a:gd name="connsiteX3" fmla="*/ 0 w 4154233"/>
              <a:gd name="connsiteY3" fmla="*/ 6136774 h 6149016"/>
              <a:gd name="connsiteX4" fmla="*/ 2858951 w 4154233"/>
              <a:gd name="connsiteY4" fmla="*/ 0 h 61490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54233" h="6149016">
                <a:moveTo>
                  <a:pt x="2858951" y="0"/>
                </a:moveTo>
                <a:lnTo>
                  <a:pt x="4154233" y="1488"/>
                </a:lnTo>
                <a:cubicBezTo>
                  <a:pt x="4148310" y="2050664"/>
                  <a:pt x="4142386" y="4099840"/>
                  <a:pt x="4136463" y="6149016"/>
                </a:cubicBezTo>
                <a:lnTo>
                  <a:pt x="0" y="6136774"/>
                </a:lnTo>
                <a:lnTo>
                  <a:pt x="2858951" y="0"/>
                </a:lnTo>
                <a:close/>
              </a:path>
            </a:pathLst>
          </a:custGeom>
          <a:solidFill>
            <a:schemeClr val="bg1">
              <a:lumMod val="95000"/>
            </a:schemeClr>
          </a:solidFill>
        </p:spPr>
        <p:txBody>
          <a:bodyPr wrap="square" anchor="ctr" anchorCtr="1">
            <a:noAutofit/>
          </a:bodyPr>
          <a:lstStyle>
            <a:lvl1pPr algn="ctr">
              <a:defRPr>
                <a:solidFill>
                  <a:schemeClr val="tx1"/>
                </a:solidFill>
              </a:defRPr>
            </a:lvl1pPr>
          </a:lstStyle>
          <a:p>
            <a:r>
              <a:rPr lang="en-US" dirty="0"/>
              <a:t>Click icon to add picture</a:t>
            </a:r>
            <a:endParaRPr lang="en-GB" dirty="0"/>
          </a:p>
        </p:txBody>
      </p:sp>
      <p:sp>
        <p:nvSpPr>
          <p:cNvPr id="8" name="Picture Placeholder 18"/>
          <p:cNvSpPr>
            <a:spLocks noGrp="1"/>
          </p:cNvSpPr>
          <p:nvPr>
            <p:ph type="pic" sz="quarter" idx="13"/>
          </p:nvPr>
        </p:nvSpPr>
        <p:spPr>
          <a:xfrm>
            <a:off x="1804196" y="6397164"/>
            <a:ext cx="5760525" cy="4297012"/>
          </a:xfrm>
          <a:custGeom>
            <a:avLst/>
            <a:gdLst>
              <a:gd name="connsiteX0" fmla="*/ 3994306 w 6600646"/>
              <a:gd name="connsiteY0" fmla="*/ 0 h 7578726"/>
              <a:gd name="connsiteX1" fmla="*/ 6600646 w 6600646"/>
              <a:gd name="connsiteY1" fmla="*/ 0 h 7578726"/>
              <a:gd name="connsiteX2" fmla="*/ 6600646 w 6600646"/>
              <a:gd name="connsiteY2" fmla="*/ 7578726 h 7578726"/>
              <a:gd name="connsiteX3" fmla="*/ 0 w 6600646"/>
              <a:gd name="connsiteY3" fmla="*/ 7578726 h 7578726"/>
              <a:gd name="connsiteX0" fmla="*/ 3994306 w 6600646"/>
              <a:gd name="connsiteY0" fmla="*/ 0 h 7578726"/>
              <a:gd name="connsiteX1" fmla="*/ 3952696 w 6600646"/>
              <a:gd name="connsiteY1" fmla="*/ 38100 h 7578726"/>
              <a:gd name="connsiteX2" fmla="*/ 6600646 w 6600646"/>
              <a:gd name="connsiteY2" fmla="*/ 7578726 h 7578726"/>
              <a:gd name="connsiteX3" fmla="*/ 0 w 6600646"/>
              <a:gd name="connsiteY3" fmla="*/ 7578726 h 7578726"/>
              <a:gd name="connsiteX4" fmla="*/ 3994306 w 6600646"/>
              <a:gd name="connsiteY4" fmla="*/ 0 h 7578726"/>
              <a:gd name="connsiteX0" fmla="*/ 3994306 w 3994306"/>
              <a:gd name="connsiteY0" fmla="*/ 0 h 7607301"/>
              <a:gd name="connsiteX1" fmla="*/ 3952696 w 3994306"/>
              <a:gd name="connsiteY1" fmla="*/ 38100 h 7607301"/>
              <a:gd name="connsiteX2" fmla="*/ 3952696 w 3994306"/>
              <a:gd name="connsiteY2" fmla="*/ 7607301 h 7607301"/>
              <a:gd name="connsiteX3" fmla="*/ 0 w 3994306"/>
              <a:gd name="connsiteY3" fmla="*/ 7578726 h 7607301"/>
              <a:gd name="connsiteX4" fmla="*/ 3994306 w 3994306"/>
              <a:gd name="connsiteY4" fmla="*/ 0 h 7607301"/>
              <a:gd name="connsiteX0" fmla="*/ 3953031 w 3953031"/>
              <a:gd name="connsiteY0" fmla="*/ 0 h 7581901"/>
              <a:gd name="connsiteX1" fmla="*/ 3952696 w 3953031"/>
              <a:gd name="connsiteY1" fmla="*/ 12700 h 7581901"/>
              <a:gd name="connsiteX2" fmla="*/ 3952696 w 3953031"/>
              <a:gd name="connsiteY2" fmla="*/ 7581901 h 7581901"/>
              <a:gd name="connsiteX3" fmla="*/ 0 w 3953031"/>
              <a:gd name="connsiteY3" fmla="*/ 7553326 h 7581901"/>
              <a:gd name="connsiteX4" fmla="*/ 3953031 w 3953031"/>
              <a:gd name="connsiteY4" fmla="*/ 0 h 7581901"/>
              <a:gd name="connsiteX0" fmla="*/ 3953031 w 3953031"/>
              <a:gd name="connsiteY0" fmla="*/ 0 h 7600951"/>
              <a:gd name="connsiteX1" fmla="*/ 3952696 w 3953031"/>
              <a:gd name="connsiteY1" fmla="*/ 31750 h 7600951"/>
              <a:gd name="connsiteX2" fmla="*/ 3952696 w 3953031"/>
              <a:gd name="connsiteY2" fmla="*/ 7600951 h 7600951"/>
              <a:gd name="connsiteX3" fmla="*/ 0 w 3953031"/>
              <a:gd name="connsiteY3" fmla="*/ 7572376 h 7600951"/>
              <a:gd name="connsiteX4" fmla="*/ 3953031 w 3953031"/>
              <a:gd name="connsiteY4"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0 w 3987956"/>
              <a:gd name="connsiteY3" fmla="*/ 7572376 h 7600951"/>
              <a:gd name="connsiteX4" fmla="*/ 3987956 w 3987956"/>
              <a:gd name="connsiteY4"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0 w 3987956"/>
              <a:gd name="connsiteY3" fmla="*/ 7572376 h 7600951"/>
              <a:gd name="connsiteX4" fmla="*/ 3921657 w 3987956"/>
              <a:gd name="connsiteY4" fmla="*/ 127762 h 7600951"/>
              <a:gd name="connsiteX5" fmla="*/ 3987956 w 3987956"/>
              <a:gd name="connsiteY5"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3921657 w 3987956"/>
              <a:gd name="connsiteY3" fmla="*/ 7596950 h 7600951"/>
              <a:gd name="connsiteX4" fmla="*/ 0 w 3987956"/>
              <a:gd name="connsiteY4" fmla="*/ 7572376 h 7600951"/>
              <a:gd name="connsiteX5" fmla="*/ 3921657 w 3987956"/>
              <a:gd name="connsiteY5" fmla="*/ 127762 h 7600951"/>
              <a:gd name="connsiteX6" fmla="*/ 3987956 w 3987956"/>
              <a:gd name="connsiteY6"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3921657 w 3987956"/>
              <a:gd name="connsiteY3" fmla="*/ 7596950 h 7600951"/>
              <a:gd name="connsiteX4" fmla="*/ 0 w 3987956"/>
              <a:gd name="connsiteY4" fmla="*/ 7572376 h 7600951"/>
              <a:gd name="connsiteX5" fmla="*/ 3921657 w 3987956"/>
              <a:gd name="connsiteY5" fmla="*/ 127762 h 7600951"/>
              <a:gd name="connsiteX6" fmla="*/ 3987956 w 3987956"/>
              <a:gd name="connsiteY6" fmla="*/ 0 h 7600951"/>
              <a:gd name="connsiteX0" fmla="*/ 3987956 w 3987956"/>
              <a:gd name="connsiteY0" fmla="*/ 0 h 7596950"/>
              <a:gd name="connsiteX1" fmla="*/ 3987621 w 3987956"/>
              <a:gd name="connsiteY1" fmla="*/ 31750 h 7596950"/>
              <a:gd name="connsiteX2" fmla="*/ 3921657 w 3987956"/>
              <a:gd name="connsiteY2" fmla="*/ 7596950 h 7596950"/>
              <a:gd name="connsiteX3" fmla="*/ 0 w 3987956"/>
              <a:gd name="connsiteY3" fmla="*/ 7572376 h 7596950"/>
              <a:gd name="connsiteX4" fmla="*/ 3921657 w 3987956"/>
              <a:gd name="connsiteY4" fmla="*/ 127762 h 7596950"/>
              <a:gd name="connsiteX5" fmla="*/ 3987956 w 3987956"/>
              <a:gd name="connsiteY5" fmla="*/ 0 h 7596950"/>
              <a:gd name="connsiteX0" fmla="*/ 3921657 w 3987621"/>
              <a:gd name="connsiteY0" fmla="*/ 96012 h 7565200"/>
              <a:gd name="connsiteX1" fmla="*/ 3987621 w 3987621"/>
              <a:gd name="connsiteY1" fmla="*/ 0 h 7565200"/>
              <a:gd name="connsiteX2" fmla="*/ 3921657 w 3987621"/>
              <a:gd name="connsiteY2" fmla="*/ 7565200 h 7565200"/>
              <a:gd name="connsiteX3" fmla="*/ 0 w 3987621"/>
              <a:gd name="connsiteY3" fmla="*/ 7540626 h 7565200"/>
              <a:gd name="connsiteX4" fmla="*/ 3921657 w 3987621"/>
              <a:gd name="connsiteY4" fmla="*/ 96012 h 7565200"/>
              <a:gd name="connsiteX0" fmla="*/ 3921657 w 3921657"/>
              <a:gd name="connsiteY0" fmla="*/ 0 h 7469188"/>
              <a:gd name="connsiteX1" fmla="*/ 3921657 w 3921657"/>
              <a:gd name="connsiteY1" fmla="*/ 7469188 h 7469188"/>
              <a:gd name="connsiteX2" fmla="*/ 0 w 3921657"/>
              <a:gd name="connsiteY2" fmla="*/ 7444614 h 7469188"/>
              <a:gd name="connsiteX3" fmla="*/ 3921657 w 3921657"/>
              <a:gd name="connsiteY3" fmla="*/ 0 h 7469188"/>
              <a:gd name="connsiteX0" fmla="*/ 3945470 w 3945470"/>
              <a:gd name="connsiteY0" fmla="*/ 0 h 7473189"/>
              <a:gd name="connsiteX1" fmla="*/ 3945470 w 3945470"/>
              <a:gd name="connsiteY1" fmla="*/ 7469188 h 7473189"/>
              <a:gd name="connsiteX2" fmla="*/ 0 w 3945470"/>
              <a:gd name="connsiteY2" fmla="*/ 7473189 h 7473189"/>
              <a:gd name="connsiteX3" fmla="*/ 3945470 w 3945470"/>
              <a:gd name="connsiteY3" fmla="*/ 0 h 7473189"/>
              <a:gd name="connsiteX0" fmla="*/ 3945470 w 5550433"/>
              <a:gd name="connsiteY0" fmla="*/ 0 h 7473950"/>
              <a:gd name="connsiteX1" fmla="*/ 5550433 w 5550433"/>
              <a:gd name="connsiteY1" fmla="*/ 7473950 h 7473950"/>
              <a:gd name="connsiteX2" fmla="*/ 0 w 5550433"/>
              <a:gd name="connsiteY2" fmla="*/ 7473189 h 7473950"/>
              <a:gd name="connsiteX3" fmla="*/ 3945470 w 5550433"/>
              <a:gd name="connsiteY3" fmla="*/ 0 h 7473950"/>
              <a:gd name="connsiteX0" fmla="*/ 3974045 w 5550433"/>
              <a:gd name="connsiteY0" fmla="*/ 0 h 7554913"/>
              <a:gd name="connsiteX1" fmla="*/ 5550433 w 5550433"/>
              <a:gd name="connsiteY1" fmla="*/ 7554913 h 7554913"/>
              <a:gd name="connsiteX2" fmla="*/ 0 w 5550433"/>
              <a:gd name="connsiteY2" fmla="*/ 7554152 h 7554913"/>
              <a:gd name="connsiteX3" fmla="*/ 3974045 w 5550433"/>
              <a:gd name="connsiteY3" fmla="*/ 0 h 7554913"/>
              <a:gd name="connsiteX0" fmla="*/ 3974045 w 5550433"/>
              <a:gd name="connsiteY0" fmla="*/ 0 h 7554913"/>
              <a:gd name="connsiteX1" fmla="*/ 4112754 w 5550433"/>
              <a:gd name="connsiteY1" fmla="*/ 646113 h 7554913"/>
              <a:gd name="connsiteX2" fmla="*/ 5550433 w 5550433"/>
              <a:gd name="connsiteY2" fmla="*/ 7554913 h 7554913"/>
              <a:gd name="connsiteX3" fmla="*/ 0 w 5550433"/>
              <a:gd name="connsiteY3" fmla="*/ 7554152 h 7554913"/>
              <a:gd name="connsiteX4" fmla="*/ 3974045 w 5550433"/>
              <a:gd name="connsiteY4" fmla="*/ 0 h 7554913"/>
              <a:gd name="connsiteX0" fmla="*/ 3974045 w 5550433"/>
              <a:gd name="connsiteY0" fmla="*/ 0 h 7554913"/>
              <a:gd name="connsiteX1" fmla="*/ 4112754 w 5550433"/>
              <a:gd name="connsiteY1" fmla="*/ 646113 h 7554913"/>
              <a:gd name="connsiteX2" fmla="*/ 5550433 w 5550433"/>
              <a:gd name="connsiteY2" fmla="*/ 7554913 h 7554913"/>
              <a:gd name="connsiteX3" fmla="*/ 0 w 5550433"/>
              <a:gd name="connsiteY3" fmla="*/ 7554152 h 7554913"/>
              <a:gd name="connsiteX4" fmla="*/ 3974045 w 5550433"/>
              <a:gd name="connsiteY4" fmla="*/ 0 h 7554913"/>
              <a:gd name="connsiteX0" fmla="*/ 3974045 w 5551029"/>
              <a:gd name="connsiteY0" fmla="*/ 15875 h 7570788"/>
              <a:gd name="connsiteX1" fmla="*/ 5551029 w 5551029"/>
              <a:gd name="connsiteY1" fmla="*/ 0 h 7570788"/>
              <a:gd name="connsiteX2" fmla="*/ 5550433 w 5551029"/>
              <a:gd name="connsiteY2" fmla="*/ 7570788 h 7570788"/>
              <a:gd name="connsiteX3" fmla="*/ 0 w 5551029"/>
              <a:gd name="connsiteY3" fmla="*/ 7570027 h 7570788"/>
              <a:gd name="connsiteX4" fmla="*/ 3974045 w 5551029"/>
              <a:gd name="connsiteY4" fmla="*/ 15875 h 7570788"/>
              <a:gd name="connsiteX0" fmla="*/ 3974045 w 5550434"/>
              <a:gd name="connsiteY0" fmla="*/ 15875 h 7570788"/>
              <a:gd name="connsiteX1" fmla="*/ 5525629 w 5550434"/>
              <a:gd name="connsiteY1" fmla="*/ 0 h 7570788"/>
              <a:gd name="connsiteX2" fmla="*/ 5550433 w 5550434"/>
              <a:gd name="connsiteY2" fmla="*/ 7570788 h 7570788"/>
              <a:gd name="connsiteX3" fmla="*/ 0 w 5550434"/>
              <a:gd name="connsiteY3" fmla="*/ 7570027 h 7570788"/>
              <a:gd name="connsiteX4" fmla="*/ 3974045 w 5550434"/>
              <a:gd name="connsiteY4" fmla="*/ 15875 h 7570788"/>
              <a:gd name="connsiteX0" fmla="*/ 3980395 w 5550434"/>
              <a:gd name="connsiteY0" fmla="*/ 3175 h 7570788"/>
              <a:gd name="connsiteX1" fmla="*/ 5525629 w 5550434"/>
              <a:gd name="connsiteY1" fmla="*/ 0 h 7570788"/>
              <a:gd name="connsiteX2" fmla="*/ 5550433 w 5550434"/>
              <a:gd name="connsiteY2" fmla="*/ 7570788 h 7570788"/>
              <a:gd name="connsiteX3" fmla="*/ 0 w 5550434"/>
              <a:gd name="connsiteY3" fmla="*/ 7570027 h 7570788"/>
              <a:gd name="connsiteX4" fmla="*/ 3980395 w 5550434"/>
              <a:gd name="connsiteY4" fmla="*/ 3175 h 7570788"/>
              <a:gd name="connsiteX0" fmla="*/ 3980395 w 5525629"/>
              <a:gd name="connsiteY0" fmla="*/ 3175 h 7570788"/>
              <a:gd name="connsiteX1" fmla="*/ 5525629 w 5525629"/>
              <a:gd name="connsiteY1" fmla="*/ 0 h 7570788"/>
              <a:gd name="connsiteX2" fmla="*/ 5525033 w 5525629"/>
              <a:gd name="connsiteY2" fmla="*/ 7570788 h 7570788"/>
              <a:gd name="connsiteX3" fmla="*/ 0 w 5525629"/>
              <a:gd name="connsiteY3" fmla="*/ 7570027 h 7570788"/>
              <a:gd name="connsiteX4" fmla="*/ 3980395 w 5525629"/>
              <a:gd name="connsiteY4" fmla="*/ 3175 h 7570788"/>
              <a:gd name="connsiteX0" fmla="*/ 3980395 w 5525629"/>
              <a:gd name="connsiteY0" fmla="*/ 3175 h 7570788"/>
              <a:gd name="connsiteX1" fmla="*/ 5525629 w 5525629"/>
              <a:gd name="connsiteY1" fmla="*/ 0 h 7570788"/>
              <a:gd name="connsiteX2" fmla="*/ 5525033 w 5525629"/>
              <a:gd name="connsiteY2" fmla="*/ 7570788 h 7570788"/>
              <a:gd name="connsiteX3" fmla="*/ 0 w 5525629"/>
              <a:gd name="connsiteY3" fmla="*/ 7570027 h 7570788"/>
              <a:gd name="connsiteX4" fmla="*/ 3980395 w 5525629"/>
              <a:gd name="connsiteY4" fmla="*/ 3175 h 7570788"/>
              <a:gd name="connsiteX0" fmla="*/ 3980395 w 5525035"/>
              <a:gd name="connsiteY0" fmla="*/ 3175 h 7570788"/>
              <a:gd name="connsiteX1" fmla="*/ 5512929 w 5525035"/>
              <a:gd name="connsiteY1" fmla="*/ 0 h 7570788"/>
              <a:gd name="connsiteX2" fmla="*/ 5525033 w 5525035"/>
              <a:gd name="connsiteY2" fmla="*/ 7570788 h 7570788"/>
              <a:gd name="connsiteX3" fmla="*/ 0 w 5525035"/>
              <a:gd name="connsiteY3" fmla="*/ 7570027 h 7570788"/>
              <a:gd name="connsiteX4" fmla="*/ 3980395 w 5525035"/>
              <a:gd name="connsiteY4" fmla="*/ 3175 h 7570788"/>
              <a:gd name="connsiteX0" fmla="*/ 3980395 w 5525035"/>
              <a:gd name="connsiteY0" fmla="*/ 3175 h 7570788"/>
              <a:gd name="connsiteX1" fmla="*/ 5512929 w 5525035"/>
              <a:gd name="connsiteY1" fmla="*/ 0 h 7570788"/>
              <a:gd name="connsiteX2" fmla="*/ 5525033 w 5525035"/>
              <a:gd name="connsiteY2" fmla="*/ 7570788 h 7570788"/>
              <a:gd name="connsiteX3" fmla="*/ 0 w 5525035"/>
              <a:gd name="connsiteY3" fmla="*/ 7570027 h 7570788"/>
              <a:gd name="connsiteX4" fmla="*/ 2705563 w 5525035"/>
              <a:gd name="connsiteY4" fmla="*/ 2422525 h 7570788"/>
              <a:gd name="connsiteX5" fmla="*/ 3980395 w 5525035"/>
              <a:gd name="connsiteY5" fmla="*/ 3175 h 7570788"/>
              <a:gd name="connsiteX0" fmla="*/ 3980395 w 5931555"/>
              <a:gd name="connsiteY0" fmla="*/ 317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6" fmla="*/ 3980395 w 5931555"/>
              <a:gd name="connsiteY6" fmla="*/ 3175 h 7570788"/>
              <a:gd name="connsiteX0" fmla="*/ 3980395 w 5931555"/>
              <a:gd name="connsiteY0" fmla="*/ 317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6" fmla="*/ 3980395 w 5931555"/>
              <a:gd name="connsiteY6" fmla="*/ 3175 h 7570788"/>
              <a:gd name="connsiteX0" fmla="*/ 2705563 w 5931555"/>
              <a:gd name="connsiteY0" fmla="*/ 242252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0" fmla="*/ 2705563 w 5931555"/>
              <a:gd name="connsiteY0" fmla="*/ 4762 h 5153025"/>
              <a:gd name="connsiteX1" fmla="*/ 5515438 w 5931555"/>
              <a:gd name="connsiteY1" fmla="*/ 0 h 5153025"/>
              <a:gd name="connsiteX2" fmla="*/ 5525033 w 5931555"/>
              <a:gd name="connsiteY2" fmla="*/ 5153025 h 5153025"/>
              <a:gd name="connsiteX3" fmla="*/ 0 w 5931555"/>
              <a:gd name="connsiteY3" fmla="*/ 5152264 h 5153025"/>
              <a:gd name="connsiteX4" fmla="*/ 2705563 w 5931555"/>
              <a:gd name="connsiteY4" fmla="*/ 4762 h 5153025"/>
              <a:gd name="connsiteX0" fmla="*/ 2705563 w 5932168"/>
              <a:gd name="connsiteY0" fmla="*/ 4762 h 5153025"/>
              <a:gd name="connsiteX1" fmla="*/ 5515438 w 5932168"/>
              <a:gd name="connsiteY1" fmla="*/ 0 h 5153025"/>
              <a:gd name="connsiteX2" fmla="*/ 5525033 w 5932168"/>
              <a:gd name="connsiteY2" fmla="*/ 5153025 h 5153025"/>
              <a:gd name="connsiteX3" fmla="*/ 0 w 5932168"/>
              <a:gd name="connsiteY3" fmla="*/ 5152264 h 5153025"/>
              <a:gd name="connsiteX4" fmla="*/ 2705563 w 5932168"/>
              <a:gd name="connsiteY4" fmla="*/ 4762 h 5153025"/>
              <a:gd name="connsiteX0" fmla="*/ 2705563 w 5525033"/>
              <a:gd name="connsiteY0" fmla="*/ 4762 h 5153025"/>
              <a:gd name="connsiteX1" fmla="*/ 5515438 w 5525033"/>
              <a:gd name="connsiteY1" fmla="*/ 0 h 5153025"/>
              <a:gd name="connsiteX2" fmla="*/ 5525033 w 5525033"/>
              <a:gd name="connsiteY2" fmla="*/ 5153025 h 5153025"/>
              <a:gd name="connsiteX3" fmla="*/ 0 w 5525033"/>
              <a:gd name="connsiteY3" fmla="*/ 5152264 h 5153025"/>
              <a:gd name="connsiteX4" fmla="*/ 2705563 w 5525033"/>
              <a:gd name="connsiteY4" fmla="*/ 4762 h 5153025"/>
              <a:gd name="connsiteX0" fmla="*/ 2700800 w 5525033"/>
              <a:gd name="connsiteY0" fmla="*/ 9524 h 5153025"/>
              <a:gd name="connsiteX1" fmla="*/ 5515438 w 5525033"/>
              <a:gd name="connsiteY1" fmla="*/ 0 h 5153025"/>
              <a:gd name="connsiteX2" fmla="*/ 5525033 w 5525033"/>
              <a:gd name="connsiteY2" fmla="*/ 5153025 h 5153025"/>
              <a:gd name="connsiteX3" fmla="*/ 0 w 5525033"/>
              <a:gd name="connsiteY3" fmla="*/ 5152264 h 5153025"/>
              <a:gd name="connsiteX4" fmla="*/ 2700800 w 5525033"/>
              <a:gd name="connsiteY4" fmla="*/ 9524 h 5153025"/>
              <a:gd name="connsiteX0" fmla="*/ 2700800 w 5525033"/>
              <a:gd name="connsiteY0" fmla="*/ 4762 h 5148263"/>
              <a:gd name="connsiteX1" fmla="*/ 3991438 w 5525033"/>
              <a:gd name="connsiteY1" fmla="*/ 0 h 5148263"/>
              <a:gd name="connsiteX2" fmla="*/ 5525033 w 5525033"/>
              <a:gd name="connsiteY2" fmla="*/ 5148263 h 5148263"/>
              <a:gd name="connsiteX3" fmla="*/ 0 w 5525033"/>
              <a:gd name="connsiteY3" fmla="*/ 5147502 h 5148263"/>
              <a:gd name="connsiteX4" fmla="*/ 2700800 w 5525033"/>
              <a:gd name="connsiteY4" fmla="*/ 4762 h 5148263"/>
              <a:gd name="connsiteX0" fmla="*/ 2700800 w 5525033"/>
              <a:gd name="connsiteY0" fmla="*/ 4762 h 5148263"/>
              <a:gd name="connsiteX1" fmla="*/ 3991438 w 5525033"/>
              <a:gd name="connsiteY1" fmla="*/ 0 h 5148263"/>
              <a:gd name="connsiteX2" fmla="*/ 5525033 w 5525033"/>
              <a:gd name="connsiteY2" fmla="*/ 5148263 h 5148263"/>
              <a:gd name="connsiteX3" fmla="*/ 0 w 5525033"/>
              <a:gd name="connsiteY3" fmla="*/ 5147502 h 5148263"/>
              <a:gd name="connsiteX4" fmla="*/ 2700800 w 5525033"/>
              <a:gd name="connsiteY4" fmla="*/ 4762 h 5148263"/>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76373 w 3996271"/>
              <a:gd name="connsiteY4" fmla="*/ 5000447 h 5147502"/>
              <a:gd name="connsiteX5" fmla="*/ 2700800 w 3996271"/>
              <a:gd name="connsiteY5" fmla="*/ 4762 h 5147502"/>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3995704"/>
              <a:gd name="connsiteY0" fmla="*/ 4762 h 5416736"/>
              <a:gd name="connsiteX1" fmla="*/ 3991438 w 3995704"/>
              <a:gd name="connsiteY1" fmla="*/ 0 h 5416736"/>
              <a:gd name="connsiteX2" fmla="*/ 3995704 w 3995704"/>
              <a:gd name="connsiteY2" fmla="*/ 4990423 h 5416736"/>
              <a:gd name="connsiteX3" fmla="*/ 0 w 3995704"/>
              <a:gd name="connsiteY3" fmla="*/ 5147502 h 5416736"/>
              <a:gd name="connsiteX4" fmla="*/ 76373 w 3995704"/>
              <a:gd name="connsiteY4" fmla="*/ 5000447 h 5416736"/>
              <a:gd name="connsiteX5" fmla="*/ 2700800 w 3995704"/>
              <a:gd name="connsiteY5" fmla="*/ 4762 h 5416736"/>
              <a:gd name="connsiteX0" fmla="*/ 2624427 w 3919331"/>
              <a:gd name="connsiteY0" fmla="*/ 4762 h 5619584"/>
              <a:gd name="connsiteX1" fmla="*/ 3915065 w 3919331"/>
              <a:gd name="connsiteY1" fmla="*/ 0 h 5619584"/>
              <a:gd name="connsiteX2" fmla="*/ 3919331 w 3919331"/>
              <a:gd name="connsiteY2" fmla="*/ 4990423 h 5619584"/>
              <a:gd name="connsiteX3" fmla="*/ 0 w 3919331"/>
              <a:gd name="connsiteY3" fmla="*/ 5000447 h 5619584"/>
              <a:gd name="connsiteX4" fmla="*/ 2624427 w 3919331"/>
              <a:gd name="connsiteY4" fmla="*/ 4762 h 5619584"/>
              <a:gd name="connsiteX0" fmla="*/ 2624427 w 3919331"/>
              <a:gd name="connsiteY0" fmla="*/ 4762 h 5362318"/>
              <a:gd name="connsiteX1" fmla="*/ 3915065 w 3919331"/>
              <a:gd name="connsiteY1" fmla="*/ 0 h 5362318"/>
              <a:gd name="connsiteX2" fmla="*/ 3919331 w 3919331"/>
              <a:gd name="connsiteY2" fmla="*/ 4990423 h 5362318"/>
              <a:gd name="connsiteX3" fmla="*/ 0 w 3919331"/>
              <a:gd name="connsiteY3" fmla="*/ 5000447 h 5362318"/>
              <a:gd name="connsiteX4" fmla="*/ 2624427 w 3919331"/>
              <a:gd name="connsiteY4" fmla="*/ 4762 h 5362318"/>
              <a:gd name="connsiteX0" fmla="*/ 2624427 w 3919331"/>
              <a:gd name="connsiteY0" fmla="*/ 4762 h 5000447"/>
              <a:gd name="connsiteX1" fmla="*/ 3915065 w 3919331"/>
              <a:gd name="connsiteY1" fmla="*/ 0 h 5000447"/>
              <a:gd name="connsiteX2" fmla="*/ 3919331 w 3919331"/>
              <a:gd name="connsiteY2" fmla="*/ 4990423 h 5000447"/>
              <a:gd name="connsiteX3" fmla="*/ 0 w 3919331"/>
              <a:gd name="connsiteY3" fmla="*/ 5000447 h 5000447"/>
              <a:gd name="connsiteX4" fmla="*/ 2624427 w 3919331"/>
              <a:gd name="connsiteY4" fmla="*/ 4762 h 5000447"/>
              <a:gd name="connsiteX0" fmla="*/ 2678589 w 3919331"/>
              <a:gd name="connsiteY0" fmla="*/ 0 h 5080797"/>
              <a:gd name="connsiteX1" fmla="*/ 3915065 w 3919331"/>
              <a:gd name="connsiteY1" fmla="*/ 80350 h 5080797"/>
              <a:gd name="connsiteX2" fmla="*/ 3919331 w 3919331"/>
              <a:gd name="connsiteY2" fmla="*/ 5070773 h 5080797"/>
              <a:gd name="connsiteX3" fmla="*/ 0 w 3919331"/>
              <a:gd name="connsiteY3" fmla="*/ 5080797 h 5080797"/>
              <a:gd name="connsiteX4" fmla="*/ 2678589 w 3919331"/>
              <a:gd name="connsiteY4" fmla="*/ 0 h 5080797"/>
              <a:gd name="connsiteX0" fmla="*/ 2678589 w 3922803"/>
              <a:gd name="connsiteY0" fmla="*/ 893 h 5081690"/>
              <a:gd name="connsiteX1" fmla="*/ 3922803 w 3922803"/>
              <a:gd name="connsiteY1" fmla="*/ 0 h 5081690"/>
              <a:gd name="connsiteX2" fmla="*/ 3919331 w 3922803"/>
              <a:gd name="connsiteY2" fmla="*/ 5071666 h 5081690"/>
              <a:gd name="connsiteX3" fmla="*/ 0 w 3922803"/>
              <a:gd name="connsiteY3" fmla="*/ 5081690 h 5081690"/>
              <a:gd name="connsiteX4" fmla="*/ 2678589 w 3922803"/>
              <a:gd name="connsiteY4" fmla="*/ 893 h 5081690"/>
              <a:gd name="connsiteX0" fmla="*/ 2678589 w 3922803"/>
              <a:gd name="connsiteY0" fmla="*/ 10016 h 5090813"/>
              <a:gd name="connsiteX1" fmla="*/ 3791709 w 3922803"/>
              <a:gd name="connsiteY1" fmla="*/ 0 h 5090813"/>
              <a:gd name="connsiteX2" fmla="*/ 3922803 w 3922803"/>
              <a:gd name="connsiteY2" fmla="*/ 9123 h 5090813"/>
              <a:gd name="connsiteX3" fmla="*/ 3919331 w 3922803"/>
              <a:gd name="connsiteY3" fmla="*/ 5080789 h 5090813"/>
              <a:gd name="connsiteX4" fmla="*/ 0 w 3922803"/>
              <a:gd name="connsiteY4" fmla="*/ 5090813 h 5090813"/>
              <a:gd name="connsiteX5" fmla="*/ 2678589 w 3922803"/>
              <a:gd name="connsiteY5" fmla="*/ 10016 h 5090813"/>
              <a:gd name="connsiteX0" fmla="*/ 2678589 w 3922803"/>
              <a:gd name="connsiteY0" fmla="*/ 10016 h 5090813"/>
              <a:gd name="connsiteX1" fmla="*/ 3791709 w 3922803"/>
              <a:gd name="connsiteY1" fmla="*/ 0 h 5090813"/>
              <a:gd name="connsiteX2" fmla="*/ 3922803 w 3922803"/>
              <a:gd name="connsiteY2" fmla="*/ 9123 h 5090813"/>
              <a:gd name="connsiteX3" fmla="*/ 3919331 w 3922803"/>
              <a:gd name="connsiteY3" fmla="*/ 5080789 h 5090813"/>
              <a:gd name="connsiteX4" fmla="*/ 3791709 w 3922803"/>
              <a:gd name="connsiteY4" fmla="*/ 5076247 h 5090813"/>
              <a:gd name="connsiteX5" fmla="*/ 0 w 3922803"/>
              <a:gd name="connsiteY5" fmla="*/ 5090813 h 5090813"/>
              <a:gd name="connsiteX6" fmla="*/ 2678589 w 3922803"/>
              <a:gd name="connsiteY6" fmla="*/ 10016 h 5090813"/>
              <a:gd name="connsiteX0" fmla="*/ 2678589 w 4120653"/>
              <a:gd name="connsiteY0" fmla="*/ 10016 h 5090813"/>
              <a:gd name="connsiteX1" fmla="*/ 3791709 w 4120653"/>
              <a:gd name="connsiteY1" fmla="*/ 0 h 5090813"/>
              <a:gd name="connsiteX2" fmla="*/ 3922803 w 4120653"/>
              <a:gd name="connsiteY2" fmla="*/ 9123 h 5090813"/>
              <a:gd name="connsiteX3" fmla="*/ 3791709 w 4120653"/>
              <a:gd name="connsiteY3" fmla="*/ 5076247 h 5090813"/>
              <a:gd name="connsiteX4" fmla="*/ 0 w 4120653"/>
              <a:gd name="connsiteY4" fmla="*/ 5090813 h 5090813"/>
              <a:gd name="connsiteX5" fmla="*/ 2678589 w 4120653"/>
              <a:gd name="connsiteY5" fmla="*/ 10016 h 5090813"/>
              <a:gd name="connsiteX0" fmla="*/ 2678589 w 4111904"/>
              <a:gd name="connsiteY0" fmla="*/ 371665 h 5452462"/>
              <a:gd name="connsiteX1" fmla="*/ 3791709 w 4111904"/>
              <a:gd name="connsiteY1" fmla="*/ 361649 h 5452462"/>
              <a:gd name="connsiteX2" fmla="*/ 3922803 w 4111904"/>
              <a:gd name="connsiteY2" fmla="*/ 370772 h 5452462"/>
              <a:gd name="connsiteX3" fmla="*/ 3915520 w 4111904"/>
              <a:gd name="connsiteY3" fmla="*/ 376216 h 5452462"/>
              <a:gd name="connsiteX4" fmla="*/ 3791709 w 4111904"/>
              <a:gd name="connsiteY4" fmla="*/ 5437896 h 5452462"/>
              <a:gd name="connsiteX5" fmla="*/ 0 w 4111904"/>
              <a:gd name="connsiteY5" fmla="*/ 5452462 h 5452462"/>
              <a:gd name="connsiteX6" fmla="*/ 2678589 w 4111904"/>
              <a:gd name="connsiteY6" fmla="*/ 371665 h 5452462"/>
              <a:gd name="connsiteX0" fmla="*/ 2678589 w 4120653"/>
              <a:gd name="connsiteY0" fmla="*/ 10016 h 5090813"/>
              <a:gd name="connsiteX1" fmla="*/ 3791709 w 4120653"/>
              <a:gd name="connsiteY1" fmla="*/ 0 h 5090813"/>
              <a:gd name="connsiteX2" fmla="*/ 3922803 w 4120653"/>
              <a:gd name="connsiteY2" fmla="*/ 9123 h 5090813"/>
              <a:gd name="connsiteX3" fmla="*/ 3791709 w 4120653"/>
              <a:gd name="connsiteY3" fmla="*/ 5076247 h 5090813"/>
              <a:gd name="connsiteX4" fmla="*/ 0 w 4120653"/>
              <a:gd name="connsiteY4" fmla="*/ 5090813 h 5090813"/>
              <a:gd name="connsiteX5" fmla="*/ 2678589 w 4120653"/>
              <a:gd name="connsiteY5"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1292731 w 3791709"/>
              <a:gd name="connsiteY4" fmla="*/ 2638265 h 5090813"/>
              <a:gd name="connsiteX5" fmla="*/ 2678589 w 3791709"/>
              <a:gd name="connsiteY5" fmla="*/ 10016 h 5090813"/>
              <a:gd name="connsiteX0" fmla="*/ 2678589 w 3791709"/>
              <a:gd name="connsiteY0" fmla="*/ 10016 h 5090813"/>
              <a:gd name="connsiteX1" fmla="*/ 3791709 w 3791709"/>
              <a:gd name="connsiteY1" fmla="*/ 0 h 5090813"/>
              <a:gd name="connsiteX2" fmla="*/ 3790798 w 3791709"/>
              <a:gd name="connsiteY2" fmla="*/ 2638265 h 5090813"/>
              <a:gd name="connsiteX3" fmla="*/ 3791709 w 3791709"/>
              <a:gd name="connsiteY3" fmla="*/ 5076247 h 5090813"/>
              <a:gd name="connsiteX4" fmla="*/ 0 w 3791709"/>
              <a:gd name="connsiteY4" fmla="*/ 5090813 h 5090813"/>
              <a:gd name="connsiteX5" fmla="*/ 1292731 w 3791709"/>
              <a:gd name="connsiteY5" fmla="*/ 2638265 h 5090813"/>
              <a:gd name="connsiteX6" fmla="*/ 2678589 w 3791709"/>
              <a:gd name="connsiteY6" fmla="*/ 10016 h 5090813"/>
              <a:gd name="connsiteX0" fmla="*/ 1292731 w 3791709"/>
              <a:gd name="connsiteY0" fmla="*/ 2638265 h 5090813"/>
              <a:gd name="connsiteX1" fmla="*/ 3791709 w 3791709"/>
              <a:gd name="connsiteY1" fmla="*/ 0 h 5090813"/>
              <a:gd name="connsiteX2" fmla="*/ 3790798 w 3791709"/>
              <a:gd name="connsiteY2" fmla="*/ 2638265 h 5090813"/>
              <a:gd name="connsiteX3" fmla="*/ 3791709 w 3791709"/>
              <a:gd name="connsiteY3" fmla="*/ 5076247 h 5090813"/>
              <a:gd name="connsiteX4" fmla="*/ 0 w 3791709"/>
              <a:gd name="connsiteY4" fmla="*/ 5090813 h 5090813"/>
              <a:gd name="connsiteX5" fmla="*/ 1292731 w 3791709"/>
              <a:gd name="connsiteY5" fmla="*/ 2638265 h 5090813"/>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1709"/>
              <a:gd name="connsiteY0" fmla="*/ 3641 h 2456189"/>
              <a:gd name="connsiteX1" fmla="*/ 3292823 w 3791709"/>
              <a:gd name="connsiteY1" fmla="*/ 0 h 2456189"/>
              <a:gd name="connsiteX2" fmla="*/ 3790798 w 3791709"/>
              <a:gd name="connsiteY2" fmla="*/ 3641 h 2456189"/>
              <a:gd name="connsiteX3" fmla="*/ 3791709 w 3791709"/>
              <a:gd name="connsiteY3" fmla="*/ 2441623 h 2456189"/>
              <a:gd name="connsiteX4" fmla="*/ 0 w 3791709"/>
              <a:gd name="connsiteY4" fmla="*/ 2456189 h 2456189"/>
              <a:gd name="connsiteX5" fmla="*/ 1292731 w 3791709"/>
              <a:gd name="connsiteY5" fmla="*/ 3641 h 2456189"/>
              <a:gd name="connsiteX0" fmla="*/ 1292731 w 3791709"/>
              <a:gd name="connsiteY0" fmla="*/ 3641 h 2456189"/>
              <a:gd name="connsiteX1" fmla="*/ 3292823 w 3791709"/>
              <a:gd name="connsiteY1" fmla="*/ 0 h 2456189"/>
              <a:gd name="connsiteX2" fmla="*/ 3790798 w 3791709"/>
              <a:gd name="connsiteY2" fmla="*/ 3641 h 2456189"/>
              <a:gd name="connsiteX3" fmla="*/ 3791709 w 3791709"/>
              <a:gd name="connsiteY3" fmla="*/ 2441623 h 2456189"/>
              <a:gd name="connsiteX4" fmla="*/ 3287361 w 3791709"/>
              <a:gd name="connsiteY4" fmla="*/ 2447085 h 2456189"/>
              <a:gd name="connsiteX5" fmla="*/ 0 w 3791709"/>
              <a:gd name="connsiteY5" fmla="*/ 2456189 h 2456189"/>
              <a:gd name="connsiteX6" fmla="*/ 1292731 w 3791709"/>
              <a:gd name="connsiteY6" fmla="*/ 3641 h 2456189"/>
              <a:gd name="connsiteX0" fmla="*/ 1292731 w 3791709"/>
              <a:gd name="connsiteY0" fmla="*/ 3641 h 2456189"/>
              <a:gd name="connsiteX1" fmla="*/ 3292823 w 3791709"/>
              <a:gd name="connsiteY1" fmla="*/ 0 h 2456189"/>
              <a:gd name="connsiteX2" fmla="*/ 3790798 w 3791709"/>
              <a:gd name="connsiteY2" fmla="*/ 3641 h 2456189"/>
              <a:gd name="connsiteX3" fmla="*/ 3791709 w 3791709"/>
              <a:gd name="connsiteY3" fmla="*/ 2441623 h 2456189"/>
              <a:gd name="connsiteX4" fmla="*/ 3287361 w 3791709"/>
              <a:gd name="connsiteY4" fmla="*/ 2452548 h 2456189"/>
              <a:gd name="connsiteX5" fmla="*/ 0 w 3791709"/>
              <a:gd name="connsiteY5" fmla="*/ 2456189 h 2456189"/>
              <a:gd name="connsiteX6" fmla="*/ 1292731 w 3791709"/>
              <a:gd name="connsiteY6" fmla="*/ 3641 h 2456189"/>
              <a:gd name="connsiteX0" fmla="*/ 1292731 w 3801115"/>
              <a:gd name="connsiteY0" fmla="*/ 3641 h 2456189"/>
              <a:gd name="connsiteX1" fmla="*/ 3292823 w 3801115"/>
              <a:gd name="connsiteY1" fmla="*/ 0 h 2456189"/>
              <a:gd name="connsiteX2" fmla="*/ 3790798 w 3801115"/>
              <a:gd name="connsiteY2" fmla="*/ 3641 h 2456189"/>
              <a:gd name="connsiteX3" fmla="*/ 3287361 w 3801115"/>
              <a:gd name="connsiteY3" fmla="*/ 2452548 h 2456189"/>
              <a:gd name="connsiteX4" fmla="*/ 0 w 3801115"/>
              <a:gd name="connsiteY4" fmla="*/ 2456189 h 2456189"/>
              <a:gd name="connsiteX5" fmla="*/ 1292731 w 3801115"/>
              <a:gd name="connsiteY5" fmla="*/ 3641 h 2456189"/>
              <a:gd name="connsiteX0" fmla="*/ 1292731 w 3292823"/>
              <a:gd name="connsiteY0" fmla="*/ 3641 h 2456189"/>
              <a:gd name="connsiteX1" fmla="*/ 3292823 w 3292823"/>
              <a:gd name="connsiteY1" fmla="*/ 0 h 2456189"/>
              <a:gd name="connsiteX2" fmla="*/ 3287361 w 3292823"/>
              <a:gd name="connsiteY2" fmla="*/ 2452548 h 2456189"/>
              <a:gd name="connsiteX3" fmla="*/ 0 w 3292823"/>
              <a:gd name="connsiteY3" fmla="*/ 2456189 h 2456189"/>
              <a:gd name="connsiteX4" fmla="*/ 1292731 w 3292823"/>
              <a:gd name="connsiteY4" fmla="*/ 3641 h 2456189"/>
              <a:gd name="connsiteX0" fmla="*/ 1292731 w 3292823"/>
              <a:gd name="connsiteY0" fmla="*/ 3641 h 2456189"/>
              <a:gd name="connsiteX1" fmla="*/ 3292823 w 3292823"/>
              <a:gd name="connsiteY1" fmla="*/ 0 h 2456189"/>
              <a:gd name="connsiteX2" fmla="*/ 3287361 w 3292823"/>
              <a:gd name="connsiteY2" fmla="*/ 2452548 h 2456189"/>
              <a:gd name="connsiteX3" fmla="*/ 0 w 3292823"/>
              <a:gd name="connsiteY3" fmla="*/ 2456189 h 2456189"/>
              <a:gd name="connsiteX4" fmla="*/ 1292731 w 3292823"/>
              <a:gd name="connsiteY4" fmla="*/ 3641 h 2456189"/>
              <a:gd name="connsiteX0" fmla="*/ 1292731 w 3293333"/>
              <a:gd name="connsiteY0" fmla="*/ 3641 h 2456632"/>
              <a:gd name="connsiteX1" fmla="*/ 3292823 w 3293333"/>
              <a:gd name="connsiteY1" fmla="*/ 0 h 2456632"/>
              <a:gd name="connsiteX2" fmla="*/ 3292806 w 3293333"/>
              <a:gd name="connsiteY2" fmla="*/ 2456632 h 2456632"/>
              <a:gd name="connsiteX3" fmla="*/ 0 w 3293333"/>
              <a:gd name="connsiteY3" fmla="*/ 2456189 h 2456632"/>
              <a:gd name="connsiteX4" fmla="*/ 1292731 w 3293333"/>
              <a:gd name="connsiteY4" fmla="*/ 3641 h 24566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93333" h="2456632">
                <a:moveTo>
                  <a:pt x="1292731" y="3641"/>
                </a:moveTo>
                <a:lnTo>
                  <a:pt x="3292823" y="0"/>
                </a:lnTo>
                <a:cubicBezTo>
                  <a:pt x="3291002" y="817516"/>
                  <a:pt x="3294627" y="1639116"/>
                  <a:pt x="3292806" y="2456632"/>
                </a:cubicBezTo>
                <a:lnTo>
                  <a:pt x="0" y="2456189"/>
                </a:lnTo>
                <a:lnTo>
                  <a:pt x="1292731" y="3641"/>
                </a:lnTo>
                <a:close/>
              </a:path>
            </a:pathLst>
          </a:custGeom>
          <a:solidFill>
            <a:schemeClr val="bg1">
              <a:lumMod val="95000"/>
            </a:schemeClr>
          </a:solidFill>
          <a:ln>
            <a:noFill/>
          </a:ln>
        </p:spPr>
        <p:txBody>
          <a:bodyPr wrap="square" anchor="ctr" anchorCtr="1">
            <a:noAutofit/>
          </a:bodyPr>
          <a:lstStyle>
            <a:lvl1pPr algn="ctr">
              <a:defRPr>
                <a:solidFill>
                  <a:schemeClr val="tx1"/>
                </a:solidFill>
              </a:defRPr>
            </a:lvl1pPr>
          </a:lstStyle>
          <a:p>
            <a:r>
              <a:rPr lang="en-US" dirty="0"/>
              <a:t>Click icon to add picture</a:t>
            </a:r>
            <a:endParaRPr lang="en-GB" dirty="0"/>
          </a:p>
        </p:txBody>
      </p:sp>
      <p:sp>
        <p:nvSpPr>
          <p:cNvPr id="9" name="Text Placeholder 9"/>
          <p:cNvSpPr>
            <a:spLocks noGrp="1"/>
          </p:cNvSpPr>
          <p:nvPr>
            <p:ph type="body" sz="quarter" idx="14" hasCustomPrompt="1"/>
            <p:custDataLst>
              <p:tags r:id="rId4"/>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11808070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our Text Boxes and Icons">
    <p:spTree>
      <p:nvGrpSpPr>
        <p:cNvPr id="1" name=""/>
        <p:cNvGrpSpPr/>
        <p:nvPr/>
      </p:nvGrpSpPr>
      <p:grpSpPr>
        <a:xfrm>
          <a:off x="0" y="0"/>
          <a:ext cx="0" cy="0"/>
          <a:chOff x="0" y="0"/>
          <a:chExt cx="0" cy="0"/>
        </a:xfrm>
      </p:grpSpPr>
      <p:graphicFrame>
        <p:nvGraphicFramePr>
          <p:cNvPr id="13" name="Object 12" hidden="1"/>
          <p:cNvGraphicFramePr>
            <a:graphicFrameLocks/>
          </p:cNvGraphicFramePr>
          <p:nvPr userDrawn="1">
            <p:custDataLst>
              <p:tags r:id="rId1"/>
            </p:custDataLst>
            <p:extLst>
              <p:ext uri="{D42A27DB-BD31-4B8C-83A1-F6EECF244321}">
                <p14:modId xmlns:p14="http://schemas.microsoft.com/office/powerpoint/2010/main" val="489687086"/>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13" name="Object 12" hidden="1"/>
                      <p:cNvPicPr/>
                      <p:nvPr/>
                    </p:nvPicPr>
                    <p:blipFill>
                      <a:blip r:embed="rId13"/>
                      <a:stretch>
                        <a:fillRect/>
                      </a:stretch>
                    </p:blipFill>
                    <p:spPr>
                      <a:xfrm>
                        <a:off x="0" y="0"/>
                        <a:ext cx="112252" cy="224510"/>
                      </a:xfrm>
                      <a:prstGeom prst="rect">
                        <a:avLst/>
                      </a:prstGeom>
                    </p:spPr>
                  </p:pic>
                </p:oleObj>
              </mc:Fallback>
            </mc:AlternateContent>
          </a:graphicData>
        </a:graphic>
      </p:graphicFrame>
      <p:sp>
        <p:nvSpPr>
          <p:cNvPr id="14" name="Text Placeholder 4"/>
          <p:cNvSpPr>
            <a:spLocks noGrp="1"/>
          </p:cNvSpPr>
          <p:nvPr>
            <p:ph type="body" sz="quarter" idx="11"/>
            <p:custDataLst>
              <p:tags r:id="rId2"/>
            </p:custDataLst>
          </p:nvPr>
        </p:nvSpPr>
        <p:spPr>
          <a:xfrm>
            <a:off x="687820" y="2770190"/>
            <a:ext cx="2978150" cy="126053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5" name="Picture Placeholder 3"/>
          <p:cNvSpPr>
            <a:spLocks noGrp="1"/>
          </p:cNvSpPr>
          <p:nvPr>
            <p:ph type="pic" sz="quarter" idx="17" hasCustomPrompt="1"/>
            <p:custDataLst>
              <p:tags r:id="rId3"/>
            </p:custDataLst>
          </p:nvPr>
        </p:nvSpPr>
        <p:spPr>
          <a:xfrm>
            <a:off x="716803" y="1817688"/>
            <a:ext cx="734400" cy="734400"/>
          </a:xfrm>
          <a:prstGeom prst="ellipse">
            <a:avLst/>
          </a:prstGeom>
        </p:spPr>
        <p:txBody>
          <a:bodyPr anchor="ctr" anchorCtr="1">
            <a:noAutofit/>
          </a:bodyPr>
          <a:lstStyle>
            <a:lvl1pPr>
              <a:defRPr/>
            </a:lvl1pPr>
          </a:lstStyle>
          <a:p>
            <a:r>
              <a:rPr lang="en-NZ" dirty="0"/>
              <a:t>ICON</a:t>
            </a:r>
          </a:p>
        </p:txBody>
      </p:sp>
      <p:sp>
        <p:nvSpPr>
          <p:cNvPr id="16" name="Text Placeholder 4"/>
          <p:cNvSpPr>
            <a:spLocks noGrp="1"/>
          </p:cNvSpPr>
          <p:nvPr>
            <p:ph type="body" sz="quarter" idx="25"/>
            <p:custDataLst>
              <p:tags r:id="rId4"/>
            </p:custDataLst>
          </p:nvPr>
        </p:nvSpPr>
        <p:spPr>
          <a:xfrm>
            <a:off x="3883450" y="2770190"/>
            <a:ext cx="2978150" cy="126053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Picture Placeholder 3"/>
          <p:cNvSpPr>
            <a:spLocks noGrp="1"/>
          </p:cNvSpPr>
          <p:nvPr>
            <p:ph type="pic" sz="quarter" idx="26" hasCustomPrompt="1"/>
            <p:custDataLst>
              <p:tags r:id="rId5"/>
            </p:custDataLst>
          </p:nvPr>
        </p:nvSpPr>
        <p:spPr>
          <a:xfrm>
            <a:off x="3883450" y="1817688"/>
            <a:ext cx="734400" cy="734400"/>
          </a:xfrm>
          <a:prstGeom prst="ellipse">
            <a:avLst/>
          </a:prstGeom>
        </p:spPr>
        <p:txBody>
          <a:bodyPr anchor="ctr" anchorCtr="1">
            <a:noAutofit/>
          </a:bodyPr>
          <a:lstStyle>
            <a:lvl1pPr>
              <a:defRPr/>
            </a:lvl1pPr>
          </a:lstStyle>
          <a:p>
            <a:r>
              <a:rPr lang="en-NZ" dirty="0"/>
              <a:t>ICON</a:t>
            </a:r>
          </a:p>
        </p:txBody>
      </p:sp>
      <p:sp>
        <p:nvSpPr>
          <p:cNvPr id="20" name="Text Placeholder 4"/>
          <p:cNvSpPr>
            <a:spLocks noGrp="1"/>
          </p:cNvSpPr>
          <p:nvPr>
            <p:ph type="body" sz="quarter" idx="27"/>
            <p:custDataLst>
              <p:tags r:id="rId6"/>
            </p:custDataLst>
          </p:nvPr>
        </p:nvSpPr>
        <p:spPr>
          <a:xfrm>
            <a:off x="687820" y="6751642"/>
            <a:ext cx="2978150" cy="126053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1" name="Picture Placeholder 3"/>
          <p:cNvSpPr>
            <a:spLocks noGrp="1"/>
          </p:cNvSpPr>
          <p:nvPr>
            <p:ph type="pic" sz="quarter" idx="28" hasCustomPrompt="1"/>
            <p:custDataLst>
              <p:tags r:id="rId7"/>
            </p:custDataLst>
          </p:nvPr>
        </p:nvSpPr>
        <p:spPr>
          <a:xfrm>
            <a:off x="716803" y="5799140"/>
            <a:ext cx="734400" cy="734400"/>
          </a:xfrm>
          <a:prstGeom prst="ellipse">
            <a:avLst/>
          </a:prstGeom>
        </p:spPr>
        <p:txBody>
          <a:bodyPr anchor="ctr" anchorCtr="1">
            <a:noAutofit/>
          </a:bodyPr>
          <a:lstStyle>
            <a:lvl1pPr>
              <a:defRPr/>
            </a:lvl1pPr>
          </a:lstStyle>
          <a:p>
            <a:r>
              <a:rPr lang="en-NZ" dirty="0"/>
              <a:t>ICON</a:t>
            </a:r>
          </a:p>
        </p:txBody>
      </p:sp>
      <p:sp>
        <p:nvSpPr>
          <p:cNvPr id="22" name="Text Placeholder 4"/>
          <p:cNvSpPr>
            <a:spLocks noGrp="1"/>
          </p:cNvSpPr>
          <p:nvPr>
            <p:ph type="body" sz="quarter" idx="29"/>
            <p:custDataLst>
              <p:tags r:id="rId8"/>
            </p:custDataLst>
          </p:nvPr>
        </p:nvSpPr>
        <p:spPr>
          <a:xfrm>
            <a:off x="3883450" y="6751642"/>
            <a:ext cx="2978150" cy="1260531"/>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3" name="Picture Placeholder 3"/>
          <p:cNvSpPr>
            <a:spLocks noGrp="1"/>
          </p:cNvSpPr>
          <p:nvPr>
            <p:ph type="pic" sz="quarter" idx="30" hasCustomPrompt="1"/>
            <p:custDataLst>
              <p:tags r:id="rId9"/>
            </p:custDataLst>
          </p:nvPr>
        </p:nvSpPr>
        <p:spPr>
          <a:xfrm>
            <a:off x="3883450" y="5799140"/>
            <a:ext cx="734400" cy="734400"/>
          </a:xfrm>
          <a:prstGeom prst="ellipse">
            <a:avLst/>
          </a:prstGeom>
        </p:spPr>
        <p:txBody>
          <a:bodyPr anchor="ctr" anchorCtr="1">
            <a:noAutofit/>
          </a:bodyPr>
          <a:lstStyle>
            <a:lvl1pPr>
              <a:defRPr/>
            </a:lvl1pPr>
          </a:lstStyle>
          <a:p>
            <a:r>
              <a:rPr lang="en-NZ" dirty="0"/>
              <a:t>ICON</a:t>
            </a:r>
          </a:p>
        </p:txBody>
      </p:sp>
      <p:sp>
        <p:nvSpPr>
          <p:cNvPr id="2" name="Title 1"/>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18" name="Text Placeholder 9"/>
          <p:cNvSpPr>
            <a:spLocks noGrp="1"/>
          </p:cNvSpPr>
          <p:nvPr>
            <p:ph type="body" sz="quarter" idx="14" hasCustomPrompt="1"/>
            <p:custDataLst>
              <p:tags r:id="rId10"/>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114685916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and Four Text Boxes">
    <p:spTree>
      <p:nvGrpSpPr>
        <p:cNvPr id="1" name=""/>
        <p:cNvGrpSpPr/>
        <p:nvPr/>
      </p:nvGrpSpPr>
      <p:grpSpPr>
        <a:xfrm>
          <a:off x="0" y="0"/>
          <a:ext cx="0" cy="0"/>
          <a:chOff x="0" y="0"/>
          <a:chExt cx="0" cy="0"/>
        </a:xfrm>
      </p:grpSpPr>
      <p:graphicFrame>
        <p:nvGraphicFramePr>
          <p:cNvPr id="13" name="Object 12" hidden="1"/>
          <p:cNvGraphicFramePr>
            <a:graphicFrameLocks/>
          </p:cNvGraphicFramePr>
          <p:nvPr userDrawn="1">
            <p:custDataLst>
              <p:tags r:id="rId1"/>
            </p:custDataLst>
            <p:extLst>
              <p:ext uri="{D42A27DB-BD31-4B8C-83A1-F6EECF244321}">
                <p14:modId xmlns:p14="http://schemas.microsoft.com/office/powerpoint/2010/main" val="1550007802"/>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16" imgW="270" imgH="270" progId="TCLayout.ActiveDocument.1">
                  <p:embed/>
                </p:oleObj>
              </mc:Choice>
              <mc:Fallback>
                <p:oleObj name="think-cell Slide" r:id="rId16" imgW="270" imgH="270" progId="TCLayout.ActiveDocument.1">
                  <p:embed/>
                  <p:pic>
                    <p:nvPicPr>
                      <p:cNvPr id="13" name="Object 12" hidden="1"/>
                      <p:cNvPicPr/>
                      <p:nvPr/>
                    </p:nvPicPr>
                    <p:blipFill>
                      <a:blip r:embed="rId17"/>
                      <a:stretch>
                        <a:fillRect/>
                      </a:stretch>
                    </p:blipFill>
                    <p:spPr>
                      <a:xfrm>
                        <a:off x="0" y="0"/>
                        <a:ext cx="112252" cy="224510"/>
                      </a:xfrm>
                      <a:prstGeom prst="rect">
                        <a:avLst/>
                      </a:prstGeom>
                    </p:spPr>
                  </p:pic>
                </p:oleObj>
              </mc:Fallback>
            </mc:AlternateContent>
          </a:graphicData>
        </a:graphic>
      </p:graphicFrame>
      <p:sp>
        <p:nvSpPr>
          <p:cNvPr id="26" name="Picture Placeholder 8"/>
          <p:cNvSpPr>
            <a:spLocks noGrp="1"/>
          </p:cNvSpPr>
          <p:nvPr>
            <p:ph type="pic" sz="quarter" idx="22"/>
            <p:custDataLst>
              <p:tags r:id="rId2"/>
            </p:custDataLst>
          </p:nvPr>
        </p:nvSpPr>
        <p:spPr>
          <a:xfrm>
            <a:off x="688145" y="1817688"/>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7" name="Picture Placeholder 8"/>
          <p:cNvSpPr>
            <a:spLocks noGrp="1"/>
          </p:cNvSpPr>
          <p:nvPr>
            <p:ph type="pic" sz="quarter" idx="23"/>
            <p:custDataLst>
              <p:tags r:id="rId3"/>
            </p:custDataLst>
          </p:nvPr>
        </p:nvSpPr>
        <p:spPr>
          <a:xfrm>
            <a:off x="2307174" y="1817688"/>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30" name="Picture Placeholder 8"/>
          <p:cNvSpPr>
            <a:spLocks noGrp="1"/>
          </p:cNvSpPr>
          <p:nvPr>
            <p:ph type="pic" sz="quarter" idx="30"/>
            <p:custDataLst>
              <p:tags r:id="rId4"/>
            </p:custDataLst>
          </p:nvPr>
        </p:nvSpPr>
        <p:spPr>
          <a:xfrm>
            <a:off x="3926203" y="1817688"/>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31" name="Picture Placeholder 8"/>
          <p:cNvSpPr>
            <a:spLocks noGrp="1"/>
          </p:cNvSpPr>
          <p:nvPr>
            <p:ph type="pic" sz="quarter" idx="25"/>
            <p:custDataLst>
              <p:tags r:id="rId5"/>
            </p:custDataLst>
          </p:nvPr>
        </p:nvSpPr>
        <p:spPr>
          <a:xfrm>
            <a:off x="5545233" y="1817688"/>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14" name="Text Placeholder 4"/>
          <p:cNvSpPr>
            <a:spLocks noGrp="1"/>
          </p:cNvSpPr>
          <p:nvPr>
            <p:ph type="body" sz="quarter" idx="11" hasCustomPrompt="1"/>
            <p:custDataLst>
              <p:tags r:id="rId6"/>
            </p:custDataLst>
          </p:nvPr>
        </p:nvSpPr>
        <p:spPr>
          <a:xfrm>
            <a:off x="687820" y="2874745"/>
            <a:ext cx="1368000" cy="504000"/>
          </a:xfrm>
          <a:prstGeom prst="rect">
            <a:avLst/>
          </a:prstGeom>
          <a:solidFill>
            <a:schemeClr val="accent1"/>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15" name="Text Placeholder 4"/>
          <p:cNvSpPr>
            <a:spLocks noGrp="1"/>
          </p:cNvSpPr>
          <p:nvPr>
            <p:ph type="body" sz="quarter" idx="26" hasCustomPrompt="1"/>
            <p:custDataLst>
              <p:tags r:id="rId7"/>
            </p:custDataLst>
          </p:nvPr>
        </p:nvSpPr>
        <p:spPr>
          <a:xfrm>
            <a:off x="2306958" y="2874745"/>
            <a:ext cx="1368000" cy="504000"/>
          </a:xfrm>
          <a:prstGeom prst="rect">
            <a:avLst/>
          </a:prstGeom>
          <a:solidFill>
            <a:schemeClr val="accent4"/>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16" name="Text Placeholder 4"/>
          <p:cNvSpPr>
            <a:spLocks noGrp="1"/>
          </p:cNvSpPr>
          <p:nvPr>
            <p:ph type="body" sz="quarter" idx="27" hasCustomPrompt="1"/>
            <p:custDataLst>
              <p:tags r:id="rId8"/>
            </p:custDataLst>
          </p:nvPr>
        </p:nvSpPr>
        <p:spPr>
          <a:xfrm>
            <a:off x="3926096" y="2874745"/>
            <a:ext cx="1368000" cy="504000"/>
          </a:xfrm>
          <a:prstGeom prst="rect">
            <a:avLst/>
          </a:prstGeom>
          <a:solidFill>
            <a:schemeClr val="accent5"/>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17" name="Text Placeholder 4"/>
          <p:cNvSpPr>
            <a:spLocks noGrp="1"/>
          </p:cNvSpPr>
          <p:nvPr>
            <p:ph type="body" sz="quarter" idx="28" hasCustomPrompt="1"/>
            <p:custDataLst>
              <p:tags r:id="rId9"/>
            </p:custDataLst>
          </p:nvPr>
        </p:nvSpPr>
        <p:spPr>
          <a:xfrm>
            <a:off x="5545233" y="2874745"/>
            <a:ext cx="1368000" cy="504000"/>
          </a:xfrm>
          <a:prstGeom prst="rect">
            <a:avLst/>
          </a:prstGeom>
          <a:solidFill>
            <a:schemeClr val="accent6"/>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20" name="Text Placeholder 4"/>
          <p:cNvSpPr>
            <a:spLocks noGrp="1"/>
          </p:cNvSpPr>
          <p:nvPr>
            <p:ph type="body" sz="quarter" idx="29"/>
            <p:custDataLst>
              <p:tags r:id="rId10"/>
            </p:custDataLst>
          </p:nvPr>
        </p:nvSpPr>
        <p:spPr>
          <a:xfrm>
            <a:off x="687820" y="3480837"/>
            <a:ext cx="1368000" cy="661720"/>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1" name="Text Placeholder 4"/>
          <p:cNvSpPr>
            <a:spLocks noGrp="1"/>
          </p:cNvSpPr>
          <p:nvPr>
            <p:ph type="body" sz="quarter" idx="12"/>
            <p:custDataLst>
              <p:tags r:id="rId11"/>
            </p:custDataLst>
          </p:nvPr>
        </p:nvSpPr>
        <p:spPr>
          <a:xfrm>
            <a:off x="2306958" y="3480837"/>
            <a:ext cx="1368000" cy="649858"/>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2" name="Text Placeholder 4"/>
          <p:cNvSpPr>
            <a:spLocks noGrp="1"/>
          </p:cNvSpPr>
          <p:nvPr>
            <p:ph type="body" sz="quarter" idx="13"/>
            <p:custDataLst>
              <p:tags r:id="rId12"/>
            </p:custDataLst>
          </p:nvPr>
        </p:nvSpPr>
        <p:spPr>
          <a:xfrm>
            <a:off x="3926096" y="3480837"/>
            <a:ext cx="1368000" cy="649858"/>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3" name="Text Placeholder 4"/>
          <p:cNvSpPr>
            <a:spLocks noGrp="1"/>
          </p:cNvSpPr>
          <p:nvPr>
            <p:ph type="body" sz="quarter" idx="14"/>
            <p:custDataLst>
              <p:tags r:id="rId13"/>
            </p:custDataLst>
          </p:nvPr>
        </p:nvSpPr>
        <p:spPr>
          <a:xfrm>
            <a:off x="5545233" y="3480837"/>
            <a:ext cx="1368000" cy="649858"/>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 name="Title 1"/>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18" name="Text Placeholder 9"/>
          <p:cNvSpPr>
            <a:spLocks noGrp="1"/>
          </p:cNvSpPr>
          <p:nvPr>
            <p:ph type="body" sz="quarter" idx="31" hasCustomPrompt="1"/>
            <p:custDataLst>
              <p:tags r:id="rId14"/>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1103596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and Eight Text Boxes">
    <p:spTree>
      <p:nvGrpSpPr>
        <p:cNvPr id="1" name=""/>
        <p:cNvGrpSpPr/>
        <p:nvPr/>
      </p:nvGrpSpPr>
      <p:grpSpPr>
        <a:xfrm>
          <a:off x="0" y="0"/>
          <a:ext cx="0" cy="0"/>
          <a:chOff x="0" y="0"/>
          <a:chExt cx="0" cy="0"/>
        </a:xfrm>
      </p:grpSpPr>
      <p:graphicFrame>
        <p:nvGraphicFramePr>
          <p:cNvPr id="13" name="Object 12" hidden="1"/>
          <p:cNvGraphicFramePr>
            <a:graphicFrameLocks/>
          </p:cNvGraphicFramePr>
          <p:nvPr userDrawn="1">
            <p:custDataLst>
              <p:tags r:id="rId1"/>
            </p:custDataLst>
            <p:extLst>
              <p:ext uri="{D42A27DB-BD31-4B8C-83A1-F6EECF244321}">
                <p14:modId xmlns:p14="http://schemas.microsoft.com/office/powerpoint/2010/main" val="3068738446"/>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28" imgW="270" imgH="270" progId="TCLayout.ActiveDocument.1">
                  <p:embed/>
                </p:oleObj>
              </mc:Choice>
              <mc:Fallback>
                <p:oleObj name="think-cell Slide" r:id="rId28" imgW="270" imgH="270" progId="TCLayout.ActiveDocument.1">
                  <p:embed/>
                  <p:pic>
                    <p:nvPicPr>
                      <p:cNvPr id="13" name="Object 12" hidden="1"/>
                      <p:cNvPicPr/>
                      <p:nvPr/>
                    </p:nvPicPr>
                    <p:blipFill>
                      <a:blip r:embed="rId29"/>
                      <a:stretch>
                        <a:fillRect/>
                      </a:stretch>
                    </p:blipFill>
                    <p:spPr>
                      <a:xfrm>
                        <a:off x="0" y="0"/>
                        <a:ext cx="112252" cy="224510"/>
                      </a:xfrm>
                      <a:prstGeom prst="rect">
                        <a:avLst/>
                      </a:prstGeom>
                    </p:spPr>
                  </p:pic>
                </p:oleObj>
              </mc:Fallback>
            </mc:AlternateContent>
          </a:graphicData>
        </a:graphic>
      </p:graphicFrame>
      <p:sp>
        <p:nvSpPr>
          <p:cNvPr id="19" name="Picture Placeholder 8"/>
          <p:cNvSpPr>
            <a:spLocks noGrp="1"/>
          </p:cNvSpPr>
          <p:nvPr>
            <p:ph type="pic" sz="quarter" idx="31"/>
            <p:custDataLst>
              <p:tags r:id="rId2"/>
            </p:custDataLst>
          </p:nvPr>
        </p:nvSpPr>
        <p:spPr>
          <a:xfrm>
            <a:off x="688145" y="5851072"/>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4" name="Picture Placeholder 8"/>
          <p:cNvSpPr>
            <a:spLocks noGrp="1"/>
          </p:cNvSpPr>
          <p:nvPr>
            <p:ph type="pic" sz="quarter" idx="32"/>
            <p:custDataLst>
              <p:tags r:id="rId3"/>
            </p:custDataLst>
          </p:nvPr>
        </p:nvSpPr>
        <p:spPr>
          <a:xfrm>
            <a:off x="2307174" y="5851072"/>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5" name="Picture Placeholder 8"/>
          <p:cNvSpPr>
            <a:spLocks noGrp="1"/>
          </p:cNvSpPr>
          <p:nvPr>
            <p:ph type="pic" sz="quarter" idx="33"/>
            <p:custDataLst>
              <p:tags r:id="rId4"/>
            </p:custDataLst>
          </p:nvPr>
        </p:nvSpPr>
        <p:spPr>
          <a:xfrm>
            <a:off x="3926203" y="5851072"/>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8" name="Picture Placeholder 8"/>
          <p:cNvSpPr>
            <a:spLocks noGrp="1"/>
          </p:cNvSpPr>
          <p:nvPr>
            <p:ph type="pic" sz="quarter" idx="34"/>
            <p:custDataLst>
              <p:tags r:id="rId5"/>
            </p:custDataLst>
          </p:nvPr>
        </p:nvSpPr>
        <p:spPr>
          <a:xfrm>
            <a:off x="5545233" y="5851072"/>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9" name="Text Placeholder 4"/>
          <p:cNvSpPr>
            <a:spLocks noGrp="1"/>
          </p:cNvSpPr>
          <p:nvPr>
            <p:ph type="body" sz="quarter" idx="35" hasCustomPrompt="1"/>
            <p:custDataLst>
              <p:tags r:id="rId6"/>
            </p:custDataLst>
          </p:nvPr>
        </p:nvSpPr>
        <p:spPr>
          <a:xfrm>
            <a:off x="687820" y="6908129"/>
            <a:ext cx="1368000" cy="504000"/>
          </a:xfrm>
          <a:prstGeom prst="rect">
            <a:avLst/>
          </a:prstGeom>
          <a:solidFill>
            <a:schemeClr val="accent2"/>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32" name="Text Placeholder 4"/>
          <p:cNvSpPr>
            <a:spLocks noGrp="1"/>
          </p:cNvSpPr>
          <p:nvPr>
            <p:ph type="body" sz="quarter" idx="36" hasCustomPrompt="1"/>
            <p:custDataLst>
              <p:tags r:id="rId7"/>
            </p:custDataLst>
          </p:nvPr>
        </p:nvSpPr>
        <p:spPr>
          <a:xfrm>
            <a:off x="2307174" y="6908129"/>
            <a:ext cx="1368000" cy="504000"/>
          </a:xfrm>
          <a:prstGeom prst="rect">
            <a:avLst/>
          </a:prstGeom>
          <a:solidFill>
            <a:schemeClr val="bg2"/>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33" name="Text Placeholder 4"/>
          <p:cNvSpPr>
            <a:spLocks noGrp="1"/>
          </p:cNvSpPr>
          <p:nvPr>
            <p:ph type="body" sz="quarter" idx="37" hasCustomPrompt="1"/>
            <p:custDataLst>
              <p:tags r:id="rId8"/>
            </p:custDataLst>
          </p:nvPr>
        </p:nvSpPr>
        <p:spPr>
          <a:xfrm>
            <a:off x="3926203" y="6908129"/>
            <a:ext cx="1368000" cy="504000"/>
          </a:xfrm>
          <a:prstGeom prst="rect">
            <a:avLst/>
          </a:prstGeom>
          <a:solidFill>
            <a:schemeClr val="tx2"/>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34" name="Text Placeholder 4"/>
          <p:cNvSpPr>
            <a:spLocks noGrp="1"/>
          </p:cNvSpPr>
          <p:nvPr>
            <p:ph type="body" sz="quarter" idx="38" hasCustomPrompt="1"/>
            <p:custDataLst>
              <p:tags r:id="rId9"/>
            </p:custDataLst>
          </p:nvPr>
        </p:nvSpPr>
        <p:spPr>
          <a:xfrm>
            <a:off x="5545233" y="6908129"/>
            <a:ext cx="1368000" cy="504000"/>
          </a:xfrm>
          <a:prstGeom prst="rect">
            <a:avLst/>
          </a:prstGeom>
          <a:solidFill>
            <a:schemeClr val="accent3"/>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35" name="Text Placeholder 4"/>
          <p:cNvSpPr>
            <a:spLocks noGrp="1"/>
          </p:cNvSpPr>
          <p:nvPr>
            <p:ph type="body" sz="quarter" idx="39"/>
            <p:custDataLst>
              <p:tags r:id="rId10"/>
            </p:custDataLst>
          </p:nvPr>
        </p:nvSpPr>
        <p:spPr>
          <a:xfrm>
            <a:off x="687820" y="7514221"/>
            <a:ext cx="1368000" cy="661720"/>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36" name="Text Placeholder 4"/>
          <p:cNvSpPr>
            <a:spLocks noGrp="1"/>
          </p:cNvSpPr>
          <p:nvPr>
            <p:ph type="body" sz="quarter" idx="40"/>
            <p:custDataLst>
              <p:tags r:id="rId11"/>
            </p:custDataLst>
          </p:nvPr>
        </p:nvSpPr>
        <p:spPr>
          <a:xfrm>
            <a:off x="2307174" y="7514221"/>
            <a:ext cx="1368000" cy="649858"/>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37" name="Text Placeholder 4"/>
          <p:cNvSpPr>
            <a:spLocks noGrp="1"/>
          </p:cNvSpPr>
          <p:nvPr>
            <p:ph type="body" sz="quarter" idx="41"/>
            <p:custDataLst>
              <p:tags r:id="rId12"/>
            </p:custDataLst>
          </p:nvPr>
        </p:nvSpPr>
        <p:spPr>
          <a:xfrm>
            <a:off x="3926203" y="7514221"/>
            <a:ext cx="1368000" cy="649858"/>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38" name="Text Placeholder 4"/>
          <p:cNvSpPr>
            <a:spLocks noGrp="1"/>
          </p:cNvSpPr>
          <p:nvPr>
            <p:ph type="body" sz="quarter" idx="42"/>
            <p:custDataLst>
              <p:tags r:id="rId13"/>
            </p:custDataLst>
          </p:nvPr>
        </p:nvSpPr>
        <p:spPr>
          <a:xfrm>
            <a:off x="5545233" y="7514221"/>
            <a:ext cx="1368000" cy="649858"/>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2" name="Title 1"/>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40" name="Text Placeholder 9"/>
          <p:cNvSpPr>
            <a:spLocks noGrp="1"/>
          </p:cNvSpPr>
          <p:nvPr>
            <p:ph type="body" sz="quarter" idx="43" hasCustomPrompt="1"/>
            <p:custDataLst>
              <p:tags r:id="rId14"/>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
        <p:nvSpPr>
          <p:cNvPr id="39" name="Picture Placeholder 8"/>
          <p:cNvSpPr>
            <a:spLocks noGrp="1"/>
          </p:cNvSpPr>
          <p:nvPr>
            <p:ph type="pic" sz="quarter" idx="22"/>
            <p:custDataLst>
              <p:tags r:id="rId15"/>
            </p:custDataLst>
          </p:nvPr>
        </p:nvSpPr>
        <p:spPr>
          <a:xfrm>
            <a:off x="688145" y="1817688"/>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41" name="Picture Placeholder 8"/>
          <p:cNvSpPr>
            <a:spLocks noGrp="1"/>
          </p:cNvSpPr>
          <p:nvPr>
            <p:ph type="pic" sz="quarter" idx="23"/>
            <p:custDataLst>
              <p:tags r:id="rId16"/>
            </p:custDataLst>
          </p:nvPr>
        </p:nvSpPr>
        <p:spPr>
          <a:xfrm>
            <a:off x="2307174" y="1817688"/>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42" name="Picture Placeholder 8"/>
          <p:cNvSpPr>
            <a:spLocks noGrp="1"/>
          </p:cNvSpPr>
          <p:nvPr>
            <p:ph type="pic" sz="quarter" idx="30"/>
            <p:custDataLst>
              <p:tags r:id="rId17"/>
            </p:custDataLst>
          </p:nvPr>
        </p:nvSpPr>
        <p:spPr>
          <a:xfrm>
            <a:off x="3926203" y="1817688"/>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43" name="Picture Placeholder 8"/>
          <p:cNvSpPr>
            <a:spLocks noGrp="1"/>
          </p:cNvSpPr>
          <p:nvPr>
            <p:ph type="pic" sz="quarter" idx="25"/>
            <p:custDataLst>
              <p:tags r:id="rId18"/>
            </p:custDataLst>
          </p:nvPr>
        </p:nvSpPr>
        <p:spPr>
          <a:xfrm>
            <a:off x="5545233" y="1817688"/>
            <a:ext cx="1368000" cy="1058935"/>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44" name="Text Placeholder 4"/>
          <p:cNvSpPr>
            <a:spLocks noGrp="1"/>
          </p:cNvSpPr>
          <p:nvPr>
            <p:ph type="body" sz="quarter" idx="11" hasCustomPrompt="1"/>
            <p:custDataLst>
              <p:tags r:id="rId19"/>
            </p:custDataLst>
          </p:nvPr>
        </p:nvSpPr>
        <p:spPr>
          <a:xfrm>
            <a:off x="687820" y="2874745"/>
            <a:ext cx="1368000" cy="504000"/>
          </a:xfrm>
          <a:prstGeom prst="rect">
            <a:avLst/>
          </a:prstGeom>
          <a:solidFill>
            <a:schemeClr val="accent1"/>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45" name="Text Placeholder 4"/>
          <p:cNvSpPr>
            <a:spLocks noGrp="1"/>
          </p:cNvSpPr>
          <p:nvPr>
            <p:ph type="body" sz="quarter" idx="26" hasCustomPrompt="1"/>
            <p:custDataLst>
              <p:tags r:id="rId20"/>
            </p:custDataLst>
          </p:nvPr>
        </p:nvSpPr>
        <p:spPr>
          <a:xfrm>
            <a:off x="2307174" y="2874745"/>
            <a:ext cx="1368000" cy="504000"/>
          </a:xfrm>
          <a:prstGeom prst="rect">
            <a:avLst/>
          </a:prstGeom>
          <a:solidFill>
            <a:schemeClr val="accent4"/>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46" name="Text Placeholder 4"/>
          <p:cNvSpPr>
            <a:spLocks noGrp="1"/>
          </p:cNvSpPr>
          <p:nvPr>
            <p:ph type="body" sz="quarter" idx="27" hasCustomPrompt="1"/>
            <p:custDataLst>
              <p:tags r:id="rId21"/>
            </p:custDataLst>
          </p:nvPr>
        </p:nvSpPr>
        <p:spPr>
          <a:xfrm>
            <a:off x="3926203" y="2874745"/>
            <a:ext cx="1368000" cy="504000"/>
          </a:xfrm>
          <a:prstGeom prst="rect">
            <a:avLst/>
          </a:prstGeom>
          <a:solidFill>
            <a:schemeClr val="accent5"/>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47" name="Text Placeholder 4"/>
          <p:cNvSpPr>
            <a:spLocks noGrp="1"/>
          </p:cNvSpPr>
          <p:nvPr>
            <p:ph type="body" sz="quarter" idx="28" hasCustomPrompt="1"/>
            <p:custDataLst>
              <p:tags r:id="rId22"/>
            </p:custDataLst>
          </p:nvPr>
        </p:nvSpPr>
        <p:spPr>
          <a:xfrm>
            <a:off x="5545233" y="2874745"/>
            <a:ext cx="1368000" cy="504000"/>
          </a:xfrm>
          <a:prstGeom prst="rect">
            <a:avLst/>
          </a:prstGeom>
          <a:solidFill>
            <a:schemeClr val="accent6"/>
          </a:solidFill>
        </p:spPr>
        <p:txBody>
          <a:bodyPr lIns="54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48" name="Text Placeholder 4"/>
          <p:cNvSpPr>
            <a:spLocks noGrp="1"/>
          </p:cNvSpPr>
          <p:nvPr>
            <p:ph type="body" sz="quarter" idx="29"/>
            <p:custDataLst>
              <p:tags r:id="rId23"/>
            </p:custDataLst>
          </p:nvPr>
        </p:nvSpPr>
        <p:spPr>
          <a:xfrm>
            <a:off x="687820" y="3480837"/>
            <a:ext cx="1368000" cy="661720"/>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49" name="Text Placeholder 4"/>
          <p:cNvSpPr>
            <a:spLocks noGrp="1"/>
          </p:cNvSpPr>
          <p:nvPr>
            <p:ph type="body" sz="quarter" idx="12"/>
            <p:custDataLst>
              <p:tags r:id="rId24"/>
            </p:custDataLst>
          </p:nvPr>
        </p:nvSpPr>
        <p:spPr>
          <a:xfrm>
            <a:off x="2307174" y="3480837"/>
            <a:ext cx="1368000" cy="649858"/>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50" name="Text Placeholder 4"/>
          <p:cNvSpPr>
            <a:spLocks noGrp="1"/>
          </p:cNvSpPr>
          <p:nvPr>
            <p:ph type="body" sz="quarter" idx="13"/>
            <p:custDataLst>
              <p:tags r:id="rId25"/>
            </p:custDataLst>
          </p:nvPr>
        </p:nvSpPr>
        <p:spPr>
          <a:xfrm>
            <a:off x="3926203" y="3480837"/>
            <a:ext cx="1368000" cy="649858"/>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51" name="Text Placeholder 4"/>
          <p:cNvSpPr>
            <a:spLocks noGrp="1"/>
          </p:cNvSpPr>
          <p:nvPr>
            <p:ph type="body" sz="quarter" idx="14"/>
            <p:custDataLst>
              <p:tags r:id="rId26"/>
            </p:custDataLst>
          </p:nvPr>
        </p:nvSpPr>
        <p:spPr>
          <a:xfrm>
            <a:off x="5545233" y="3480837"/>
            <a:ext cx="1368000" cy="649858"/>
          </a:xfrm>
          <a:prstGeom prst="rect">
            <a:avLst/>
          </a:prstGeo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479377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ase studies Single">
    <p:spTree>
      <p:nvGrpSpPr>
        <p:cNvPr id="1" name=""/>
        <p:cNvGrpSpPr/>
        <p:nvPr/>
      </p:nvGrpSpPr>
      <p:grpSpPr>
        <a:xfrm>
          <a:off x="0" y="0"/>
          <a:ext cx="0" cy="0"/>
          <a:chOff x="0" y="0"/>
          <a:chExt cx="0" cy="0"/>
        </a:xfrm>
      </p:grpSpPr>
      <p:graphicFrame>
        <p:nvGraphicFramePr>
          <p:cNvPr id="13" name="Object 12" hidden="1"/>
          <p:cNvGraphicFramePr>
            <a:graphicFrameLocks/>
          </p:cNvGraphicFramePr>
          <p:nvPr userDrawn="1">
            <p:custDataLst>
              <p:tags r:id="rId1"/>
            </p:custDataLst>
            <p:extLst>
              <p:ext uri="{D42A27DB-BD31-4B8C-83A1-F6EECF244321}">
                <p14:modId xmlns:p14="http://schemas.microsoft.com/office/powerpoint/2010/main" val="2858101809"/>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12" imgW="270" imgH="270" progId="TCLayout.ActiveDocument.1">
                  <p:embed/>
                </p:oleObj>
              </mc:Choice>
              <mc:Fallback>
                <p:oleObj name="think-cell Slide" r:id="rId12" imgW="270" imgH="270" progId="TCLayout.ActiveDocument.1">
                  <p:embed/>
                  <p:pic>
                    <p:nvPicPr>
                      <p:cNvPr id="13" name="Object 12" hidden="1"/>
                      <p:cNvPicPr/>
                      <p:nvPr/>
                    </p:nvPicPr>
                    <p:blipFill>
                      <a:blip r:embed="rId13"/>
                      <a:stretch>
                        <a:fillRect/>
                      </a:stretch>
                    </p:blipFill>
                    <p:spPr>
                      <a:xfrm>
                        <a:off x="0" y="0"/>
                        <a:ext cx="112252" cy="224510"/>
                      </a:xfrm>
                      <a:prstGeom prst="rect">
                        <a:avLst/>
                      </a:prstGeom>
                    </p:spPr>
                  </p:pic>
                </p:oleObj>
              </mc:Fallback>
            </mc:AlternateContent>
          </a:graphicData>
        </a:graphic>
      </p:graphicFrame>
      <p:sp>
        <p:nvSpPr>
          <p:cNvPr id="9" name="Picture Placeholder 8"/>
          <p:cNvSpPr>
            <a:spLocks noGrp="1" noChangeAspect="1"/>
          </p:cNvSpPr>
          <p:nvPr>
            <p:ph type="pic" sz="quarter" idx="12"/>
          </p:nvPr>
        </p:nvSpPr>
        <p:spPr>
          <a:xfrm>
            <a:off x="684000" y="1817688"/>
            <a:ext cx="1926000" cy="1926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19" name="Text Placeholder 18"/>
          <p:cNvSpPr>
            <a:spLocks noGrp="1"/>
          </p:cNvSpPr>
          <p:nvPr>
            <p:ph type="body" sz="quarter" idx="16"/>
          </p:nvPr>
        </p:nvSpPr>
        <p:spPr>
          <a:xfrm>
            <a:off x="684000" y="3924074"/>
            <a:ext cx="6191463" cy="533479"/>
          </a:xfrm>
          <a:prstGeom prst="rect">
            <a:avLst/>
          </a:prstGeom>
        </p:spPr>
        <p:txBody>
          <a:bodyPr/>
          <a:lstStyle>
            <a:lvl1pPr>
              <a:lnSpc>
                <a:spcPct val="100000"/>
              </a:lnSpc>
              <a:spcAft>
                <a:spcPts val="400"/>
              </a:spcAft>
              <a:defRPr sz="1000" b="1"/>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15" name="Text Placeholder 6"/>
          <p:cNvSpPr>
            <a:spLocks noGrp="1"/>
          </p:cNvSpPr>
          <p:nvPr>
            <p:ph type="body" sz="quarter" idx="28"/>
            <p:custDataLst>
              <p:tags r:id="rId2"/>
            </p:custDataLst>
          </p:nvPr>
        </p:nvSpPr>
        <p:spPr>
          <a:xfrm>
            <a:off x="684000" y="6202030"/>
            <a:ext cx="1368000" cy="2230438"/>
          </a:xfrm>
          <a:prstGeom prst="rect">
            <a:avLst/>
          </a:prstGeom>
          <a:solidFill>
            <a:srgbClr val="CCE9F0"/>
          </a:solidFill>
        </p:spPr>
        <p:txBody>
          <a:bodyPr lIns="54000" tIns="54000" rIns="54000" bIns="54000">
            <a:noAutofit/>
          </a:bodyPr>
          <a:lstStyle>
            <a:lvl1pPr>
              <a:defRPr sz="900">
                <a:solidFill>
                  <a:schemeClr val="tx1"/>
                </a:solidFill>
                <a:latin typeface="+mn-lt"/>
              </a:defRPr>
            </a:lvl1pPr>
            <a:lvl2pPr marL="171450" indent="-171450">
              <a:buFont typeface="Arial" panose="020B0604020202020204" pitchFamily="34" charset="0"/>
              <a:buChar char="•"/>
              <a:defRPr lang="en-NZ" sz="900" b="0" kern="1200" baseline="0" dirty="0">
                <a:solidFill>
                  <a:schemeClr val="tx1"/>
                </a:solidFill>
                <a:latin typeface="+mn-lt"/>
                <a:ea typeface="+mn-ea"/>
                <a:cs typeface="+mn-cs"/>
              </a:defRPr>
            </a:lvl2pPr>
            <a:lvl3pPr marL="171450" indent="-171450">
              <a:defRPr/>
            </a:lvl3pPr>
            <a:lvl4pPr marL="171450" indent="-171450">
              <a:defRPr/>
            </a:lvl4pPr>
            <a:lvl5pPr marL="171450" indent="-171450">
              <a:defRPr/>
            </a:lvl5pPr>
          </a:lstStyle>
          <a:p>
            <a:pPr lvl="0"/>
            <a:r>
              <a:rPr lang="en-US"/>
              <a:t>Click to edit Master text styles</a:t>
            </a:r>
          </a:p>
          <a:p>
            <a:pPr lvl="1"/>
            <a:r>
              <a:rPr lang="en-US"/>
              <a:t>Second level</a:t>
            </a:r>
          </a:p>
        </p:txBody>
      </p:sp>
      <p:sp>
        <p:nvSpPr>
          <p:cNvPr id="16" name="Text Placeholder 4"/>
          <p:cNvSpPr>
            <a:spLocks noGrp="1"/>
          </p:cNvSpPr>
          <p:nvPr>
            <p:ph type="body" sz="quarter" idx="29" hasCustomPrompt="1"/>
            <p:custDataLst>
              <p:tags r:id="rId3"/>
            </p:custDataLst>
          </p:nvPr>
        </p:nvSpPr>
        <p:spPr>
          <a:xfrm>
            <a:off x="684000" y="5634038"/>
            <a:ext cx="1368000" cy="576000"/>
          </a:xfrm>
          <a:prstGeom prst="rect">
            <a:avLst/>
          </a:prstGeom>
          <a:solidFill>
            <a:schemeClr val="accent1"/>
          </a:solidFill>
        </p:spPr>
        <p:txBody>
          <a:bodyPr lIns="522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20" name="Text Placeholder 6"/>
          <p:cNvSpPr>
            <a:spLocks noGrp="1"/>
          </p:cNvSpPr>
          <p:nvPr>
            <p:ph type="body" sz="quarter" idx="31"/>
            <p:custDataLst>
              <p:tags r:id="rId4"/>
            </p:custDataLst>
          </p:nvPr>
        </p:nvSpPr>
        <p:spPr>
          <a:xfrm>
            <a:off x="2291821" y="6202030"/>
            <a:ext cx="1368000" cy="2230438"/>
          </a:xfrm>
          <a:prstGeom prst="rect">
            <a:avLst/>
          </a:prstGeom>
          <a:solidFill>
            <a:srgbClr val="CCE9F0"/>
          </a:solidFill>
        </p:spPr>
        <p:txBody>
          <a:bodyPr lIns="54000" tIns="54000" rIns="54000" bIns="54000">
            <a:noAutofit/>
          </a:bodyPr>
          <a:lstStyle>
            <a:lvl1pPr>
              <a:defRPr sz="900">
                <a:solidFill>
                  <a:schemeClr val="tx1"/>
                </a:solidFill>
                <a:latin typeface="+mn-lt"/>
              </a:defRPr>
            </a:lvl1pPr>
            <a:lvl2pPr marL="171450" indent="-171450">
              <a:buFont typeface="Arial" panose="020B0604020202020204" pitchFamily="34" charset="0"/>
              <a:buChar char="•"/>
              <a:defRPr lang="en-NZ" sz="900" b="0" kern="1200" baseline="0" dirty="0">
                <a:solidFill>
                  <a:schemeClr val="tx1"/>
                </a:solidFill>
                <a:latin typeface="+mn-lt"/>
                <a:ea typeface="+mn-ea"/>
                <a:cs typeface="+mn-cs"/>
              </a:defRPr>
            </a:lvl2pPr>
            <a:lvl3pPr marL="171450" indent="-171450">
              <a:defRPr/>
            </a:lvl3pPr>
            <a:lvl4pPr marL="171450" indent="-171450">
              <a:defRPr/>
            </a:lvl4pPr>
            <a:lvl5pPr marL="171450" indent="-171450">
              <a:defRPr/>
            </a:lvl5pPr>
          </a:lstStyle>
          <a:p>
            <a:pPr lvl="0"/>
            <a:r>
              <a:rPr lang="en-US"/>
              <a:t>Click to edit Master text styles</a:t>
            </a:r>
          </a:p>
          <a:p>
            <a:pPr lvl="1"/>
            <a:r>
              <a:rPr lang="en-US"/>
              <a:t>Second level</a:t>
            </a:r>
          </a:p>
        </p:txBody>
      </p:sp>
      <p:sp>
        <p:nvSpPr>
          <p:cNvPr id="21" name="Text Placeholder 4"/>
          <p:cNvSpPr>
            <a:spLocks noGrp="1"/>
          </p:cNvSpPr>
          <p:nvPr>
            <p:ph type="body" sz="quarter" idx="32" hasCustomPrompt="1"/>
            <p:custDataLst>
              <p:tags r:id="rId5"/>
            </p:custDataLst>
          </p:nvPr>
        </p:nvSpPr>
        <p:spPr>
          <a:xfrm>
            <a:off x="2291821" y="5634038"/>
            <a:ext cx="1368000" cy="576000"/>
          </a:xfrm>
          <a:prstGeom prst="rect">
            <a:avLst/>
          </a:prstGeom>
          <a:solidFill>
            <a:schemeClr val="accent1"/>
          </a:solidFill>
        </p:spPr>
        <p:txBody>
          <a:bodyPr lIns="522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22" name="Text Placeholder 6"/>
          <p:cNvSpPr>
            <a:spLocks noGrp="1"/>
          </p:cNvSpPr>
          <p:nvPr>
            <p:ph type="body" sz="quarter" idx="33"/>
            <p:custDataLst>
              <p:tags r:id="rId6"/>
            </p:custDataLst>
          </p:nvPr>
        </p:nvSpPr>
        <p:spPr>
          <a:xfrm>
            <a:off x="3899642" y="6202030"/>
            <a:ext cx="1368000" cy="2230438"/>
          </a:xfrm>
          <a:prstGeom prst="rect">
            <a:avLst/>
          </a:prstGeom>
          <a:solidFill>
            <a:srgbClr val="CCE9F0"/>
          </a:solidFill>
        </p:spPr>
        <p:txBody>
          <a:bodyPr lIns="54000" tIns="54000" rIns="54000" bIns="54000">
            <a:noAutofit/>
          </a:bodyPr>
          <a:lstStyle>
            <a:lvl1pPr>
              <a:defRPr sz="900">
                <a:solidFill>
                  <a:schemeClr val="tx1"/>
                </a:solidFill>
                <a:latin typeface="+mn-lt"/>
              </a:defRPr>
            </a:lvl1pPr>
            <a:lvl2pPr marL="171450" indent="-171450">
              <a:buFont typeface="Arial" panose="020B0604020202020204" pitchFamily="34" charset="0"/>
              <a:buChar char="•"/>
              <a:defRPr lang="en-NZ" sz="900" b="0" kern="1200" baseline="0" dirty="0">
                <a:solidFill>
                  <a:schemeClr val="tx1"/>
                </a:solidFill>
                <a:latin typeface="+mn-lt"/>
                <a:ea typeface="+mn-ea"/>
                <a:cs typeface="+mn-cs"/>
              </a:defRPr>
            </a:lvl2pPr>
            <a:lvl3pPr marL="171450" indent="-171450">
              <a:defRPr/>
            </a:lvl3pPr>
            <a:lvl4pPr marL="171450" indent="-171450">
              <a:defRPr/>
            </a:lvl4pPr>
            <a:lvl5pPr marL="171450" indent="-171450">
              <a:defRPr/>
            </a:lvl5pPr>
          </a:lstStyle>
          <a:p>
            <a:pPr lvl="0"/>
            <a:r>
              <a:rPr lang="en-US"/>
              <a:t>Click to edit Master text styles</a:t>
            </a:r>
          </a:p>
          <a:p>
            <a:pPr lvl="1"/>
            <a:r>
              <a:rPr lang="en-US"/>
              <a:t>Second level</a:t>
            </a:r>
          </a:p>
        </p:txBody>
      </p:sp>
      <p:sp>
        <p:nvSpPr>
          <p:cNvPr id="23" name="Text Placeholder 4"/>
          <p:cNvSpPr>
            <a:spLocks noGrp="1"/>
          </p:cNvSpPr>
          <p:nvPr>
            <p:ph type="body" sz="quarter" idx="34" hasCustomPrompt="1"/>
            <p:custDataLst>
              <p:tags r:id="rId7"/>
            </p:custDataLst>
          </p:nvPr>
        </p:nvSpPr>
        <p:spPr>
          <a:xfrm>
            <a:off x="3899642" y="5634038"/>
            <a:ext cx="1368000" cy="576000"/>
          </a:xfrm>
          <a:prstGeom prst="rect">
            <a:avLst/>
          </a:prstGeom>
          <a:solidFill>
            <a:schemeClr val="accent1"/>
          </a:solidFill>
        </p:spPr>
        <p:txBody>
          <a:bodyPr lIns="522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26" name="Text Placeholder 6"/>
          <p:cNvSpPr>
            <a:spLocks noGrp="1"/>
          </p:cNvSpPr>
          <p:nvPr>
            <p:ph type="body" sz="quarter" idx="35"/>
            <p:custDataLst>
              <p:tags r:id="rId8"/>
            </p:custDataLst>
          </p:nvPr>
        </p:nvSpPr>
        <p:spPr>
          <a:xfrm>
            <a:off x="5545563" y="6202030"/>
            <a:ext cx="1368000" cy="2230438"/>
          </a:xfrm>
          <a:prstGeom prst="rect">
            <a:avLst/>
          </a:prstGeom>
          <a:solidFill>
            <a:srgbClr val="CCE9F0"/>
          </a:solidFill>
        </p:spPr>
        <p:txBody>
          <a:bodyPr lIns="54000" tIns="54000" rIns="54000" bIns="54000">
            <a:noAutofit/>
          </a:bodyPr>
          <a:lstStyle>
            <a:lvl1pPr>
              <a:defRPr sz="900">
                <a:solidFill>
                  <a:schemeClr val="tx1"/>
                </a:solidFill>
                <a:latin typeface="+mn-lt"/>
              </a:defRPr>
            </a:lvl1pPr>
            <a:lvl2pPr marL="171450" indent="-171450">
              <a:buFont typeface="Arial" panose="020B0604020202020204" pitchFamily="34" charset="0"/>
              <a:buChar char="•"/>
              <a:defRPr lang="en-NZ" sz="900" b="0" kern="1200" baseline="0" dirty="0">
                <a:solidFill>
                  <a:schemeClr val="tx1"/>
                </a:solidFill>
                <a:latin typeface="+mn-lt"/>
                <a:ea typeface="+mn-ea"/>
                <a:cs typeface="+mn-cs"/>
              </a:defRPr>
            </a:lvl2pPr>
            <a:lvl3pPr marL="171450" indent="-171450">
              <a:defRPr/>
            </a:lvl3pPr>
            <a:lvl4pPr marL="171450" indent="-171450">
              <a:defRPr/>
            </a:lvl4pPr>
            <a:lvl5pPr marL="171450" indent="-171450">
              <a:defRPr/>
            </a:lvl5pPr>
          </a:lstStyle>
          <a:p>
            <a:pPr lvl="0"/>
            <a:r>
              <a:rPr lang="en-US"/>
              <a:t>Click to edit Master text styles</a:t>
            </a:r>
          </a:p>
          <a:p>
            <a:pPr lvl="1"/>
            <a:r>
              <a:rPr lang="en-US"/>
              <a:t>Second level</a:t>
            </a:r>
          </a:p>
        </p:txBody>
      </p:sp>
      <p:sp>
        <p:nvSpPr>
          <p:cNvPr id="27" name="Text Placeholder 4"/>
          <p:cNvSpPr>
            <a:spLocks noGrp="1"/>
          </p:cNvSpPr>
          <p:nvPr>
            <p:ph type="body" sz="quarter" idx="36" hasCustomPrompt="1"/>
            <p:custDataLst>
              <p:tags r:id="rId9"/>
            </p:custDataLst>
          </p:nvPr>
        </p:nvSpPr>
        <p:spPr>
          <a:xfrm>
            <a:off x="5545563" y="5634038"/>
            <a:ext cx="1368000" cy="576000"/>
          </a:xfrm>
          <a:prstGeom prst="rect">
            <a:avLst/>
          </a:prstGeom>
          <a:solidFill>
            <a:schemeClr val="accent1"/>
          </a:solidFill>
        </p:spPr>
        <p:txBody>
          <a:bodyPr lIns="522000" tIns="54000" rIns="54000" bIns="54000" anchor="ctr" anchorCtr="0">
            <a:noAutofit/>
          </a:bodyPr>
          <a:lstStyle>
            <a:lvl1pPr>
              <a:lnSpc>
                <a:spcPct val="90000"/>
              </a:lnSpc>
              <a:defRPr sz="1400" baseline="0">
                <a:solidFill>
                  <a:schemeClr val="bg1"/>
                </a:solidFill>
                <a:latin typeface="+mj-lt"/>
              </a:defRPr>
            </a:lvl1pPr>
            <a:lvl2pPr>
              <a:defRPr sz="1400">
                <a:solidFill>
                  <a:schemeClr val="bg1"/>
                </a:solidFill>
                <a:latin typeface="+mj-lt"/>
              </a:defRPr>
            </a:lvl2pPr>
            <a:lvl3pPr>
              <a:defRPr sz="1400">
                <a:solidFill>
                  <a:schemeClr val="bg1"/>
                </a:solidFill>
                <a:latin typeface="+mj-lt"/>
              </a:defRPr>
            </a:lvl3pPr>
            <a:lvl4pPr>
              <a:defRPr sz="1400">
                <a:solidFill>
                  <a:schemeClr val="bg1"/>
                </a:solidFill>
                <a:latin typeface="+mj-lt"/>
              </a:defRPr>
            </a:lvl4pPr>
            <a:lvl5pPr>
              <a:defRPr sz="1400">
                <a:solidFill>
                  <a:schemeClr val="bg1"/>
                </a:solidFill>
                <a:latin typeface="+mj-lt"/>
              </a:defRPr>
            </a:lvl5pPr>
          </a:lstStyle>
          <a:p>
            <a:pPr lvl="0"/>
            <a:r>
              <a:rPr lang="en-US" dirty="0"/>
              <a:t>Title </a:t>
            </a:r>
            <a:endParaRPr lang="en-GB" dirty="0"/>
          </a:p>
        </p:txBody>
      </p:sp>
      <p:sp>
        <p:nvSpPr>
          <p:cNvPr id="2" name="Title 1"/>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24" name="Text Placeholder 9"/>
          <p:cNvSpPr>
            <a:spLocks noGrp="1"/>
          </p:cNvSpPr>
          <p:nvPr>
            <p:ph type="body" sz="quarter" idx="14" hasCustomPrompt="1"/>
            <p:custDataLst>
              <p:tags r:id="rId10"/>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427485216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ase studies One">
    <p:spTree>
      <p:nvGrpSpPr>
        <p:cNvPr id="1" name=""/>
        <p:cNvGrpSpPr/>
        <p:nvPr/>
      </p:nvGrpSpPr>
      <p:grpSpPr>
        <a:xfrm>
          <a:off x="0" y="0"/>
          <a:ext cx="0" cy="0"/>
          <a:chOff x="0" y="0"/>
          <a:chExt cx="0" cy="0"/>
        </a:xfrm>
      </p:grpSpPr>
      <p:graphicFrame>
        <p:nvGraphicFramePr>
          <p:cNvPr id="13" name="Object 12" hidden="1"/>
          <p:cNvGraphicFramePr>
            <a:graphicFrameLocks/>
          </p:cNvGraphicFramePr>
          <p:nvPr userDrawn="1">
            <p:custDataLst>
              <p:tags r:id="rId1"/>
            </p:custDataLst>
            <p:extLst>
              <p:ext uri="{D42A27DB-BD31-4B8C-83A1-F6EECF244321}">
                <p14:modId xmlns:p14="http://schemas.microsoft.com/office/powerpoint/2010/main" val="2565320663"/>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3" name="Object 12" hidden="1"/>
                      <p:cNvPicPr/>
                      <p:nvPr/>
                    </p:nvPicPr>
                    <p:blipFill>
                      <a:blip r:embed="rId5"/>
                      <a:stretch>
                        <a:fillRect/>
                      </a:stretch>
                    </p:blipFill>
                    <p:spPr>
                      <a:xfrm>
                        <a:off x="0" y="0"/>
                        <a:ext cx="112252" cy="224510"/>
                      </a:xfrm>
                      <a:prstGeom prst="rect">
                        <a:avLst/>
                      </a:prstGeom>
                    </p:spPr>
                  </p:pic>
                </p:oleObj>
              </mc:Fallback>
            </mc:AlternateContent>
          </a:graphicData>
        </a:graphic>
      </p:graphicFrame>
      <p:sp>
        <p:nvSpPr>
          <p:cNvPr id="9" name="Picture Placeholder 8"/>
          <p:cNvSpPr>
            <a:spLocks noGrp="1"/>
          </p:cNvSpPr>
          <p:nvPr>
            <p:ph type="pic" sz="quarter" idx="12"/>
          </p:nvPr>
        </p:nvSpPr>
        <p:spPr>
          <a:xfrm>
            <a:off x="684000" y="1817688"/>
            <a:ext cx="1440000" cy="144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19" name="Text Placeholder 18"/>
          <p:cNvSpPr>
            <a:spLocks noGrp="1"/>
          </p:cNvSpPr>
          <p:nvPr>
            <p:ph type="body" sz="quarter" idx="16"/>
          </p:nvPr>
        </p:nvSpPr>
        <p:spPr>
          <a:xfrm>
            <a:off x="2351314" y="1817688"/>
            <a:ext cx="4562249" cy="533479"/>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24" name="Picture Placeholder 8"/>
          <p:cNvSpPr>
            <a:spLocks noGrp="1"/>
          </p:cNvSpPr>
          <p:nvPr>
            <p:ph type="pic" sz="quarter" idx="26"/>
          </p:nvPr>
        </p:nvSpPr>
        <p:spPr>
          <a:xfrm>
            <a:off x="684000" y="3810631"/>
            <a:ext cx="1440000" cy="144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5" name="Text Placeholder 18"/>
          <p:cNvSpPr>
            <a:spLocks noGrp="1"/>
          </p:cNvSpPr>
          <p:nvPr>
            <p:ph type="body" sz="quarter" idx="27"/>
          </p:nvPr>
        </p:nvSpPr>
        <p:spPr>
          <a:xfrm>
            <a:off x="2351314" y="3810631"/>
            <a:ext cx="4562249" cy="533479"/>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28" name="Picture Placeholder 8"/>
          <p:cNvSpPr>
            <a:spLocks noGrp="1"/>
          </p:cNvSpPr>
          <p:nvPr>
            <p:ph type="pic" sz="quarter" idx="30"/>
          </p:nvPr>
        </p:nvSpPr>
        <p:spPr>
          <a:xfrm>
            <a:off x="684000" y="5803574"/>
            <a:ext cx="1440000" cy="144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9" name="Text Placeholder 18"/>
          <p:cNvSpPr>
            <a:spLocks noGrp="1"/>
          </p:cNvSpPr>
          <p:nvPr>
            <p:ph type="body" sz="quarter" idx="31"/>
          </p:nvPr>
        </p:nvSpPr>
        <p:spPr>
          <a:xfrm>
            <a:off x="2351314" y="5803574"/>
            <a:ext cx="4562249" cy="533479"/>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32" name="Picture Placeholder 8"/>
          <p:cNvSpPr>
            <a:spLocks noGrp="1"/>
          </p:cNvSpPr>
          <p:nvPr>
            <p:ph type="pic" sz="quarter" idx="34"/>
          </p:nvPr>
        </p:nvSpPr>
        <p:spPr>
          <a:xfrm>
            <a:off x="684000" y="7796517"/>
            <a:ext cx="1440000" cy="144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33" name="Text Placeholder 18"/>
          <p:cNvSpPr>
            <a:spLocks noGrp="1"/>
          </p:cNvSpPr>
          <p:nvPr>
            <p:ph type="body" sz="quarter" idx="35"/>
          </p:nvPr>
        </p:nvSpPr>
        <p:spPr>
          <a:xfrm>
            <a:off x="2351314" y="7796517"/>
            <a:ext cx="4562249" cy="533479"/>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2" name="Title 1"/>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16" name="Text Placeholder 9"/>
          <p:cNvSpPr>
            <a:spLocks noGrp="1"/>
          </p:cNvSpPr>
          <p:nvPr>
            <p:ph type="body" sz="quarter" idx="14" hasCustomPrompt="1"/>
            <p:custDataLst>
              <p:tags r:id="rId2"/>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271373729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ase studies Two">
    <p:spTree>
      <p:nvGrpSpPr>
        <p:cNvPr id="1" name=""/>
        <p:cNvGrpSpPr/>
        <p:nvPr/>
      </p:nvGrpSpPr>
      <p:grpSpPr>
        <a:xfrm>
          <a:off x="0" y="0"/>
          <a:ext cx="0" cy="0"/>
          <a:chOff x="0" y="0"/>
          <a:chExt cx="0" cy="0"/>
        </a:xfrm>
      </p:grpSpPr>
      <p:graphicFrame>
        <p:nvGraphicFramePr>
          <p:cNvPr id="13" name="Object 12" hidden="1"/>
          <p:cNvGraphicFramePr>
            <a:graphicFrameLocks/>
          </p:cNvGraphicFramePr>
          <p:nvPr userDrawn="1">
            <p:custDataLst>
              <p:tags r:id="rId1"/>
            </p:custDataLst>
            <p:extLst>
              <p:ext uri="{D42A27DB-BD31-4B8C-83A1-F6EECF244321}">
                <p14:modId xmlns:p14="http://schemas.microsoft.com/office/powerpoint/2010/main" val="3470154817"/>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3" name="Object 12" hidden="1"/>
                      <p:cNvPicPr/>
                      <p:nvPr/>
                    </p:nvPicPr>
                    <p:blipFill>
                      <a:blip r:embed="rId5"/>
                      <a:stretch>
                        <a:fillRect/>
                      </a:stretch>
                    </p:blipFill>
                    <p:spPr>
                      <a:xfrm>
                        <a:off x="0" y="0"/>
                        <a:ext cx="112252" cy="224510"/>
                      </a:xfrm>
                      <a:prstGeom prst="rect">
                        <a:avLst/>
                      </a:prstGeom>
                    </p:spPr>
                  </p:pic>
                </p:oleObj>
              </mc:Fallback>
            </mc:AlternateContent>
          </a:graphicData>
        </a:graphic>
      </p:graphicFrame>
      <p:sp>
        <p:nvSpPr>
          <p:cNvPr id="9" name="Picture Placeholder 8"/>
          <p:cNvSpPr>
            <a:spLocks noGrp="1"/>
          </p:cNvSpPr>
          <p:nvPr>
            <p:ph type="pic" sz="quarter" idx="12"/>
          </p:nvPr>
        </p:nvSpPr>
        <p:spPr>
          <a:xfrm>
            <a:off x="684000" y="1817688"/>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19" name="Text Placeholder 18"/>
          <p:cNvSpPr>
            <a:spLocks noGrp="1"/>
          </p:cNvSpPr>
          <p:nvPr>
            <p:ph type="body" sz="quarter" idx="16"/>
          </p:nvPr>
        </p:nvSpPr>
        <p:spPr>
          <a:xfrm>
            <a:off x="1889759" y="1817688"/>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16" name="Picture Placeholder 8"/>
          <p:cNvSpPr>
            <a:spLocks noGrp="1"/>
          </p:cNvSpPr>
          <p:nvPr>
            <p:ph type="pic" sz="quarter" idx="18"/>
          </p:nvPr>
        </p:nvSpPr>
        <p:spPr>
          <a:xfrm>
            <a:off x="3852695" y="1817688"/>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0" name="Text Placeholder 18"/>
          <p:cNvSpPr>
            <a:spLocks noGrp="1"/>
          </p:cNvSpPr>
          <p:nvPr>
            <p:ph type="body" sz="quarter" idx="25"/>
          </p:nvPr>
        </p:nvSpPr>
        <p:spPr>
          <a:xfrm>
            <a:off x="5085398" y="1817688"/>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24" name="Picture Placeholder 8"/>
          <p:cNvSpPr>
            <a:spLocks noGrp="1"/>
          </p:cNvSpPr>
          <p:nvPr>
            <p:ph type="pic" sz="quarter" idx="26"/>
          </p:nvPr>
        </p:nvSpPr>
        <p:spPr>
          <a:xfrm>
            <a:off x="684000" y="3812184"/>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5" name="Text Placeholder 18"/>
          <p:cNvSpPr>
            <a:spLocks noGrp="1"/>
          </p:cNvSpPr>
          <p:nvPr>
            <p:ph type="body" sz="quarter" idx="27"/>
          </p:nvPr>
        </p:nvSpPr>
        <p:spPr>
          <a:xfrm>
            <a:off x="1889759" y="3812184"/>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26" name="Picture Placeholder 8"/>
          <p:cNvSpPr>
            <a:spLocks noGrp="1"/>
          </p:cNvSpPr>
          <p:nvPr>
            <p:ph type="pic" sz="quarter" idx="28"/>
          </p:nvPr>
        </p:nvSpPr>
        <p:spPr>
          <a:xfrm>
            <a:off x="3852695" y="3812184"/>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7" name="Text Placeholder 18"/>
          <p:cNvSpPr>
            <a:spLocks noGrp="1"/>
          </p:cNvSpPr>
          <p:nvPr>
            <p:ph type="body" sz="quarter" idx="29"/>
          </p:nvPr>
        </p:nvSpPr>
        <p:spPr>
          <a:xfrm>
            <a:off x="5085398" y="3812184"/>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28" name="Picture Placeholder 8"/>
          <p:cNvSpPr>
            <a:spLocks noGrp="1"/>
          </p:cNvSpPr>
          <p:nvPr>
            <p:ph type="pic" sz="quarter" idx="30"/>
          </p:nvPr>
        </p:nvSpPr>
        <p:spPr>
          <a:xfrm>
            <a:off x="684000" y="5806680"/>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9" name="Text Placeholder 18"/>
          <p:cNvSpPr>
            <a:spLocks noGrp="1"/>
          </p:cNvSpPr>
          <p:nvPr>
            <p:ph type="body" sz="quarter" idx="31"/>
          </p:nvPr>
        </p:nvSpPr>
        <p:spPr>
          <a:xfrm>
            <a:off x="1889759" y="5806680"/>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30" name="Picture Placeholder 8"/>
          <p:cNvSpPr>
            <a:spLocks noGrp="1"/>
          </p:cNvSpPr>
          <p:nvPr>
            <p:ph type="pic" sz="quarter" idx="32"/>
          </p:nvPr>
        </p:nvSpPr>
        <p:spPr>
          <a:xfrm>
            <a:off x="3852695" y="5806680"/>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31" name="Text Placeholder 18"/>
          <p:cNvSpPr>
            <a:spLocks noGrp="1"/>
          </p:cNvSpPr>
          <p:nvPr>
            <p:ph type="body" sz="quarter" idx="33"/>
          </p:nvPr>
        </p:nvSpPr>
        <p:spPr>
          <a:xfrm>
            <a:off x="5085398" y="5806680"/>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32" name="Picture Placeholder 8"/>
          <p:cNvSpPr>
            <a:spLocks noGrp="1"/>
          </p:cNvSpPr>
          <p:nvPr>
            <p:ph type="pic" sz="quarter" idx="34"/>
          </p:nvPr>
        </p:nvSpPr>
        <p:spPr>
          <a:xfrm>
            <a:off x="684000" y="7801176"/>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33" name="Text Placeholder 18"/>
          <p:cNvSpPr>
            <a:spLocks noGrp="1"/>
          </p:cNvSpPr>
          <p:nvPr>
            <p:ph type="body" sz="quarter" idx="35"/>
          </p:nvPr>
        </p:nvSpPr>
        <p:spPr>
          <a:xfrm>
            <a:off x="1889759" y="7801176"/>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34" name="Picture Placeholder 8"/>
          <p:cNvSpPr>
            <a:spLocks noGrp="1"/>
          </p:cNvSpPr>
          <p:nvPr>
            <p:ph type="pic" sz="quarter" idx="36"/>
          </p:nvPr>
        </p:nvSpPr>
        <p:spPr>
          <a:xfrm>
            <a:off x="3852695" y="7801176"/>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35" name="Text Placeholder 18"/>
          <p:cNvSpPr>
            <a:spLocks noGrp="1"/>
          </p:cNvSpPr>
          <p:nvPr>
            <p:ph type="body" sz="quarter" idx="37"/>
          </p:nvPr>
        </p:nvSpPr>
        <p:spPr>
          <a:xfrm>
            <a:off x="5085398" y="7801176"/>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2" name="Title 1"/>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21" name="Text Placeholder 9"/>
          <p:cNvSpPr>
            <a:spLocks noGrp="1"/>
          </p:cNvSpPr>
          <p:nvPr>
            <p:ph type="body" sz="quarter" idx="14" hasCustomPrompt="1"/>
            <p:custDataLst>
              <p:tags r:id="rId2"/>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207583593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ase studies Three">
    <p:spTree>
      <p:nvGrpSpPr>
        <p:cNvPr id="1" name=""/>
        <p:cNvGrpSpPr/>
        <p:nvPr/>
      </p:nvGrpSpPr>
      <p:grpSpPr>
        <a:xfrm>
          <a:off x="0" y="0"/>
          <a:ext cx="0" cy="0"/>
          <a:chOff x="0" y="0"/>
          <a:chExt cx="0" cy="0"/>
        </a:xfrm>
      </p:grpSpPr>
      <p:graphicFrame>
        <p:nvGraphicFramePr>
          <p:cNvPr id="13" name="Object 12" hidden="1"/>
          <p:cNvGraphicFramePr>
            <a:graphicFrameLocks/>
          </p:cNvGraphicFramePr>
          <p:nvPr userDrawn="1">
            <p:custDataLst>
              <p:tags r:id="rId1"/>
            </p:custDataLst>
            <p:extLst>
              <p:ext uri="{D42A27DB-BD31-4B8C-83A1-F6EECF244321}">
                <p14:modId xmlns:p14="http://schemas.microsoft.com/office/powerpoint/2010/main" val="4226188928"/>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13" name="Object 12" hidden="1"/>
                      <p:cNvPicPr/>
                      <p:nvPr/>
                    </p:nvPicPr>
                    <p:blipFill>
                      <a:blip r:embed="rId8"/>
                      <a:stretch>
                        <a:fillRect/>
                      </a:stretch>
                    </p:blipFill>
                    <p:spPr>
                      <a:xfrm>
                        <a:off x="0" y="0"/>
                        <a:ext cx="112252" cy="224510"/>
                      </a:xfrm>
                      <a:prstGeom prst="rect">
                        <a:avLst/>
                      </a:prstGeom>
                    </p:spPr>
                  </p:pic>
                </p:oleObj>
              </mc:Fallback>
            </mc:AlternateContent>
          </a:graphicData>
        </a:graphic>
      </p:graphicFrame>
      <p:sp>
        <p:nvSpPr>
          <p:cNvPr id="9" name="Picture Placeholder 8"/>
          <p:cNvSpPr>
            <a:spLocks noGrp="1"/>
          </p:cNvSpPr>
          <p:nvPr>
            <p:ph type="pic" sz="quarter" idx="12"/>
          </p:nvPr>
        </p:nvSpPr>
        <p:spPr>
          <a:xfrm>
            <a:off x="684000" y="1817688"/>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19" name="Text Placeholder 18"/>
          <p:cNvSpPr>
            <a:spLocks noGrp="1"/>
          </p:cNvSpPr>
          <p:nvPr>
            <p:ph type="body" sz="quarter" idx="16"/>
          </p:nvPr>
        </p:nvSpPr>
        <p:spPr>
          <a:xfrm>
            <a:off x="1889759" y="1817688"/>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16" name="Picture Placeholder 8"/>
          <p:cNvSpPr>
            <a:spLocks noGrp="1"/>
          </p:cNvSpPr>
          <p:nvPr>
            <p:ph type="pic" sz="quarter" idx="18"/>
          </p:nvPr>
        </p:nvSpPr>
        <p:spPr>
          <a:xfrm>
            <a:off x="3852695" y="1817688"/>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0" name="Text Placeholder 18"/>
          <p:cNvSpPr>
            <a:spLocks noGrp="1"/>
          </p:cNvSpPr>
          <p:nvPr>
            <p:ph type="body" sz="quarter" idx="25"/>
          </p:nvPr>
        </p:nvSpPr>
        <p:spPr>
          <a:xfrm>
            <a:off x="5085398" y="1817688"/>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24" name="Picture Placeholder 8"/>
          <p:cNvSpPr>
            <a:spLocks noGrp="1"/>
          </p:cNvSpPr>
          <p:nvPr>
            <p:ph type="pic" sz="quarter" idx="26"/>
          </p:nvPr>
        </p:nvSpPr>
        <p:spPr>
          <a:xfrm>
            <a:off x="684000" y="3191355"/>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5" name="Text Placeholder 18"/>
          <p:cNvSpPr>
            <a:spLocks noGrp="1"/>
          </p:cNvSpPr>
          <p:nvPr>
            <p:ph type="body" sz="quarter" idx="27"/>
          </p:nvPr>
        </p:nvSpPr>
        <p:spPr>
          <a:xfrm>
            <a:off x="1889759" y="3191355"/>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26" name="Picture Placeholder 8"/>
          <p:cNvSpPr>
            <a:spLocks noGrp="1"/>
          </p:cNvSpPr>
          <p:nvPr>
            <p:ph type="pic" sz="quarter" idx="28"/>
          </p:nvPr>
        </p:nvSpPr>
        <p:spPr>
          <a:xfrm>
            <a:off x="3852695" y="3191355"/>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7" name="Text Placeholder 18"/>
          <p:cNvSpPr>
            <a:spLocks noGrp="1"/>
          </p:cNvSpPr>
          <p:nvPr>
            <p:ph type="body" sz="quarter" idx="29"/>
          </p:nvPr>
        </p:nvSpPr>
        <p:spPr>
          <a:xfrm>
            <a:off x="5085398" y="3191355"/>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28" name="Picture Placeholder 8"/>
          <p:cNvSpPr>
            <a:spLocks noGrp="1"/>
          </p:cNvSpPr>
          <p:nvPr>
            <p:ph type="pic" sz="quarter" idx="30"/>
          </p:nvPr>
        </p:nvSpPr>
        <p:spPr>
          <a:xfrm>
            <a:off x="684000" y="4565022"/>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9" name="Text Placeholder 18"/>
          <p:cNvSpPr>
            <a:spLocks noGrp="1"/>
          </p:cNvSpPr>
          <p:nvPr>
            <p:ph type="body" sz="quarter" idx="31"/>
          </p:nvPr>
        </p:nvSpPr>
        <p:spPr>
          <a:xfrm>
            <a:off x="1889759" y="4565022"/>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30" name="Picture Placeholder 8"/>
          <p:cNvSpPr>
            <a:spLocks noGrp="1"/>
          </p:cNvSpPr>
          <p:nvPr>
            <p:ph type="pic" sz="quarter" idx="32"/>
          </p:nvPr>
        </p:nvSpPr>
        <p:spPr>
          <a:xfrm>
            <a:off x="3852695" y="4565022"/>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31" name="Text Placeholder 18"/>
          <p:cNvSpPr>
            <a:spLocks noGrp="1"/>
          </p:cNvSpPr>
          <p:nvPr>
            <p:ph type="body" sz="quarter" idx="33"/>
          </p:nvPr>
        </p:nvSpPr>
        <p:spPr>
          <a:xfrm>
            <a:off x="5085398" y="4565022"/>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32" name="Picture Placeholder 8"/>
          <p:cNvSpPr>
            <a:spLocks noGrp="1"/>
          </p:cNvSpPr>
          <p:nvPr>
            <p:ph type="pic" sz="quarter" idx="34"/>
          </p:nvPr>
        </p:nvSpPr>
        <p:spPr>
          <a:xfrm>
            <a:off x="684000" y="5938689"/>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33" name="Text Placeholder 18"/>
          <p:cNvSpPr>
            <a:spLocks noGrp="1"/>
          </p:cNvSpPr>
          <p:nvPr>
            <p:ph type="body" sz="quarter" idx="35"/>
          </p:nvPr>
        </p:nvSpPr>
        <p:spPr>
          <a:xfrm>
            <a:off x="1889759" y="5938689"/>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34" name="Picture Placeholder 8"/>
          <p:cNvSpPr>
            <a:spLocks noGrp="1"/>
          </p:cNvSpPr>
          <p:nvPr>
            <p:ph type="pic" sz="quarter" idx="36"/>
          </p:nvPr>
        </p:nvSpPr>
        <p:spPr>
          <a:xfrm>
            <a:off x="3852695" y="5938689"/>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35" name="Text Placeholder 18"/>
          <p:cNvSpPr>
            <a:spLocks noGrp="1"/>
          </p:cNvSpPr>
          <p:nvPr>
            <p:ph type="body" sz="quarter" idx="37"/>
          </p:nvPr>
        </p:nvSpPr>
        <p:spPr>
          <a:xfrm>
            <a:off x="5085398" y="5938689"/>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36" name="Picture Placeholder 8"/>
          <p:cNvSpPr>
            <a:spLocks noGrp="1"/>
          </p:cNvSpPr>
          <p:nvPr>
            <p:ph type="pic" sz="quarter" idx="38"/>
          </p:nvPr>
        </p:nvSpPr>
        <p:spPr>
          <a:xfrm>
            <a:off x="684000" y="7312356"/>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37" name="Text Placeholder 18"/>
          <p:cNvSpPr>
            <a:spLocks noGrp="1"/>
          </p:cNvSpPr>
          <p:nvPr>
            <p:ph type="body" sz="quarter" idx="39"/>
          </p:nvPr>
        </p:nvSpPr>
        <p:spPr>
          <a:xfrm>
            <a:off x="1889759" y="7312356"/>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38" name="Picture Placeholder 8"/>
          <p:cNvSpPr>
            <a:spLocks noGrp="1"/>
          </p:cNvSpPr>
          <p:nvPr>
            <p:ph type="pic" sz="quarter" idx="40"/>
          </p:nvPr>
        </p:nvSpPr>
        <p:spPr>
          <a:xfrm>
            <a:off x="3852695" y="7312356"/>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39" name="Text Placeholder 18"/>
          <p:cNvSpPr>
            <a:spLocks noGrp="1"/>
          </p:cNvSpPr>
          <p:nvPr>
            <p:ph type="body" sz="quarter" idx="41"/>
          </p:nvPr>
        </p:nvSpPr>
        <p:spPr>
          <a:xfrm>
            <a:off x="5085398" y="7312356"/>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40" name="Picture Placeholder 8"/>
          <p:cNvSpPr>
            <a:spLocks noGrp="1"/>
          </p:cNvSpPr>
          <p:nvPr>
            <p:ph type="pic" sz="quarter" idx="42"/>
            <p:custDataLst>
              <p:tags r:id="rId2"/>
            </p:custDataLst>
          </p:nvPr>
        </p:nvSpPr>
        <p:spPr>
          <a:xfrm>
            <a:off x="684000" y="8686022"/>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41" name="Text Placeholder 18"/>
          <p:cNvSpPr>
            <a:spLocks noGrp="1"/>
          </p:cNvSpPr>
          <p:nvPr>
            <p:ph type="body" sz="quarter" idx="43"/>
          </p:nvPr>
        </p:nvSpPr>
        <p:spPr>
          <a:xfrm>
            <a:off x="1889759" y="8686022"/>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42" name="Picture Placeholder 8"/>
          <p:cNvSpPr>
            <a:spLocks noGrp="1"/>
          </p:cNvSpPr>
          <p:nvPr>
            <p:ph type="pic" sz="quarter" idx="44"/>
            <p:custDataLst>
              <p:tags r:id="rId3"/>
            </p:custDataLst>
          </p:nvPr>
        </p:nvSpPr>
        <p:spPr>
          <a:xfrm>
            <a:off x="3852695" y="8686022"/>
            <a:ext cx="1080000" cy="10800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43" name="Text Placeholder 18"/>
          <p:cNvSpPr>
            <a:spLocks noGrp="1"/>
          </p:cNvSpPr>
          <p:nvPr>
            <p:ph type="body" sz="quarter" idx="45"/>
            <p:custDataLst>
              <p:tags r:id="rId4"/>
            </p:custDataLst>
          </p:nvPr>
        </p:nvSpPr>
        <p:spPr>
          <a:xfrm>
            <a:off x="5085398" y="8686022"/>
            <a:ext cx="1790065" cy="687368"/>
          </a:xfrm>
          <a:prstGeom prst="rect">
            <a:avLst/>
          </a:prstGeom>
        </p:spPr>
        <p:txBody>
          <a:bodyPr/>
          <a:lstStyle>
            <a:lvl1pPr>
              <a:lnSpc>
                <a:spcPct val="100000"/>
              </a:lnSpc>
              <a:spcAft>
                <a:spcPts val="400"/>
              </a:spcAft>
              <a:defRPr sz="1000" b="1">
                <a:solidFill>
                  <a:schemeClr val="accent1"/>
                </a:solidFill>
              </a:defRPr>
            </a:lvl1pPr>
            <a:lvl2pPr>
              <a:lnSpc>
                <a:spcPct val="100000"/>
              </a:lnSpc>
              <a:spcAft>
                <a:spcPts val="400"/>
              </a:spcAft>
              <a:defRPr/>
            </a:lvl2pPr>
            <a:lvl3pPr>
              <a:lnSpc>
                <a:spcPct val="100000"/>
              </a:lnSpc>
              <a:spcAft>
                <a:spcPts val="400"/>
              </a:spcAft>
              <a:defRPr/>
            </a:lvl3pPr>
          </a:lstStyle>
          <a:p>
            <a:pPr lvl="0"/>
            <a:r>
              <a:rPr lang="en-US"/>
              <a:t>Click to edit Master text styles</a:t>
            </a:r>
          </a:p>
          <a:p>
            <a:pPr lvl="1"/>
            <a:r>
              <a:rPr lang="en-US"/>
              <a:t>Second level</a:t>
            </a:r>
          </a:p>
          <a:p>
            <a:pPr lvl="2"/>
            <a:r>
              <a:rPr lang="en-US"/>
              <a:t>Third level</a:t>
            </a:r>
          </a:p>
        </p:txBody>
      </p:sp>
      <p:sp>
        <p:nvSpPr>
          <p:cNvPr id="2" name="Title 1"/>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45" name="Text Placeholder 9"/>
          <p:cNvSpPr>
            <a:spLocks noGrp="1"/>
          </p:cNvSpPr>
          <p:nvPr>
            <p:ph type="body" sz="quarter" idx="14" hasCustomPrompt="1"/>
            <p:custDataLst>
              <p:tags r:id="rId5"/>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28482971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Three">
    <p:bg>
      <p:bgPr>
        <a:solidFill>
          <a:schemeClr val="bg1"/>
        </a:solidFill>
        <a:effectLst/>
      </p:bgPr>
    </p:bg>
    <p:spTree>
      <p:nvGrpSpPr>
        <p:cNvPr id="1" name=""/>
        <p:cNvGrpSpPr/>
        <p:nvPr/>
      </p:nvGrpSpPr>
      <p:grpSpPr>
        <a:xfrm>
          <a:off x="0" y="0"/>
          <a:ext cx="0" cy="0"/>
          <a:chOff x="0" y="0"/>
          <a:chExt cx="0" cy="0"/>
        </a:xfrm>
      </p:grpSpPr>
      <p:sp>
        <p:nvSpPr>
          <p:cNvPr id="6" name="Freeform 244"/>
          <p:cNvSpPr>
            <a:spLocks/>
          </p:cNvSpPr>
          <p:nvPr userDrawn="1"/>
        </p:nvSpPr>
        <p:spPr bwMode="auto">
          <a:xfrm>
            <a:off x="0" y="0"/>
            <a:ext cx="5657850" cy="1306286"/>
          </a:xfrm>
          <a:custGeom>
            <a:avLst/>
            <a:gdLst>
              <a:gd name="T0" fmla="*/ 2359 w 3564"/>
              <a:gd name="T1" fmla="*/ 2265 h 2265"/>
              <a:gd name="T2" fmla="*/ 3564 w 3564"/>
              <a:gd name="T3" fmla="*/ 0 h 2265"/>
              <a:gd name="T4" fmla="*/ 0 w 3564"/>
              <a:gd name="T5" fmla="*/ 0 h 2265"/>
              <a:gd name="T6" fmla="*/ 0 w 3564"/>
              <a:gd name="T7" fmla="*/ 2265 h 2265"/>
              <a:gd name="T8" fmla="*/ 2359 w 3564"/>
              <a:gd name="T9" fmla="*/ 2265 h 2265"/>
              <a:gd name="connsiteX0" fmla="*/ 8651 w 10000"/>
              <a:gd name="connsiteY0" fmla="*/ 9900 h 10000"/>
              <a:gd name="connsiteX1" fmla="*/ 10000 w 10000"/>
              <a:gd name="connsiteY1" fmla="*/ 0 h 10000"/>
              <a:gd name="connsiteX2" fmla="*/ 0 w 10000"/>
              <a:gd name="connsiteY2" fmla="*/ 0 h 10000"/>
              <a:gd name="connsiteX3" fmla="*/ 0 w 10000"/>
              <a:gd name="connsiteY3" fmla="*/ 10000 h 10000"/>
              <a:gd name="connsiteX4" fmla="*/ 8651 w 10000"/>
              <a:gd name="connsiteY4" fmla="*/ 99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8651" y="9900"/>
                </a:moveTo>
                <a:lnTo>
                  <a:pt x="10000" y="0"/>
                </a:lnTo>
                <a:lnTo>
                  <a:pt x="0" y="0"/>
                </a:lnTo>
                <a:lnTo>
                  <a:pt x="0" y="10000"/>
                </a:lnTo>
                <a:lnTo>
                  <a:pt x="8651" y="9900"/>
                </a:lnTo>
                <a:close/>
              </a:path>
            </a:pathLst>
          </a:custGeom>
          <a:solidFill>
            <a:srgbClr val="E30C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aphicFrame>
        <p:nvGraphicFramePr>
          <p:cNvPr id="5" name="Object 4" hidden="1"/>
          <p:cNvGraphicFramePr>
            <a:graphicFrameLocks/>
          </p:cNvGraphicFramePr>
          <p:nvPr userDrawn="1">
            <p:custDataLst>
              <p:tags r:id="rId1"/>
            </p:custDataLst>
            <p:extLst>
              <p:ext uri="{D42A27DB-BD31-4B8C-83A1-F6EECF244321}">
                <p14:modId xmlns:p14="http://schemas.microsoft.com/office/powerpoint/2010/main" val="429140503"/>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0" y="0"/>
                        <a:ext cx="112252" cy="224510"/>
                      </a:xfrm>
                      <a:prstGeom prst="rect">
                        <a:avLst/>
                      </a:prstGeom>
                    </p:spPr>
                  </p:pic>
                </p:oleObj>
              </mc:Fallback>
            </mc:AlternateContent>
          </a:graphicData>
        </a:graphic>
      </p:graphicFrame>
      <p:pic>
        <p:nvPicPr>
          <p:cNvPr id="11" name="Picture 10"/>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537114" y="406956"/>
            <a:ext cx="1830338" cy="503585"/>
          </a:xfrm>
          <a:prstGeom prst="rect">
            <a:avLst/>
          </a:prstGeom>
        </p:spPr>
      </p:pic>
      <p:sp>
        <p:nvSpPr>
          <p:cNvPr id="4" name="TextBox 3"/>
          <p:cNvSpPr txBox="1"/>
          <p:nvPr userDrawn="1"/>
        </p:nvSpPr>
        <p:spPr>
          <a:xfrm>
            <a:off x="1162594" y="2704011"/>
            <a:ext cx="5172892" cy="2863733"/>
          </a:xfrm>
          <a:prstGeom prst="rect">
            <a:avLst/>
          </a:prstGeom>
          <a:noFill/>
          <a:ln>
            <a:noFill/>
          </a:ln>
          <a:effectLst/>
        </p:spPr>
        <p:txBody>
          <a:bodyPr vert="horz" wrap="square" lIns="0" tIns="0" rIns="0" bIns="0" rtlCol="0">
            <a:spAutoFit/>
          </a:bodyPr>
          <a:lstStyle/>
          <a:p>
            <a:pPr>
              <a:lnSpc>
                <a:spcPct val="110000"/>
              </a:lnSpc>
            </a:pPr>
            <a:r>
              <a:rPr lang="en-GB" sz="8800" dirty="0">
                <a:solidFill>
                  <a:schemeClr val="bg1"/>
                </a:solidFill>
              </a:rPr>
              <a:t>FILLER PICTURE</a:t>
            </a:r>
            <a:endParaRPr lang="en-US" sz="8800" dirty="0">
              <a:solidFill>
                <a:schemeClr val="bg1"/>
              </a:solidFill>
            </a:endParaRPr>
          </a:p>
        </p:txBody>
      </p:sp>
    </p:spTree>
    <p:extLst>
      <p:ext uri="{BB962C8B-B14F-4D97-AF65-F5344CB8AC3E}">
        <p14:creationId xmlns:p14="http://schemas.microsoft.com/office/powerpoint/2010/main" val="228763001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V One">
    <p:spTree>
      <p:nvGrpSpPr>
        <p:cNvPr id="1" name=""/>
        <p:cNvGrpSpPr/>
        <p:nvPr/>
      </p:nvGrpSpPr>
      <p:grpSpPr>
        <a:xfrm>
          <a:off x="0" y="0"/>
          <a:ext cx="0" cy="0"/>
          <a:chOff x="0" y="0"/>
          <a:chExt cx="0" cy="0"/>
        </a:xfrm>
      </p:grpSpPr>
      <p:graphicFrame>
        <p:nvGraphicFramePr>
          <p:cNvPr id="13" name="Object 12" hidden="1"/>
          <p:cNvGraphicFramePr>
            <a:graphicFrameLocks/>
          </p:cNvGraphicFramePr>
          <p:nvPr userDrawn="1">
            <p:custDataLst>
              <p:tags r:id="rId1"/>
            </p:custDataLst>
            <p:extLst>
              <p:ext uri="{D42A27DB-BD31-4B8C-83A1-F6EECF244321}">
                <p14:modId xmlns:p14="http://schemas.microsoft.com/office/powerpoint/2010/main" val="1422719857"/>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13" name="Object 12" hidden="1"/>
                      <p:cNvPicPr/>
                      <p:nvPr/>
                    </p:nvPicPr>
                    <p:blipFill>
                      <a:blip r:embed="rId9"/>
                      <a:stretch>
                        <a:fillRect/>
                      </a:stretch>
                    </p:blipFill>
                    <p:spPr>
                      <a:xfrm>
                        <a:off x="0" y="0"/>
                        <a:ext cx="112252" cy="224510"/>
                      </a:xfrm>
                      <a:prstGeom prst="rect">
                        <a:avLst/>
                      </a:prstGeom>
                    </p:spPr>
                  </p:pic>
                </p:oleObj>
              </mc:Fallback>
            </mc:AlternateContent>
          </a:graphicData>
        </a:graphic>
      </p:graphicFrame>
      <p:sp>
        <p:nvSpPr>
          <p:cNvPr id="32" name="Text Placeholder 4"/>
          <p:cNvSpPr>
            <a:spLocks noGrp="1"/>
          </p:cNvSpPr>
          <p:nvPr>
            <p:ph type="body" sz="quarter" idx="18" hasCustomPrompt="1"/>
            <p:custDataLst>
              <p:tags r:id="rId2"/>
            </p:custDataLst>
          </p:nvPr>
        </p:nvSpPr>
        <p:spPr>
          <a:xfrm>
            <a:off x="684000" y="3868949"/>
            <a:ext cx="2987888" cy="1086451"/>
          </a:xfrm>
          <a:prstGeom prst="rect">
            <a:avLst/>
          </a:prstGeom>
        </p:spPr>
        <p:txBody>
          <a:bodyPr/>
          <a:lstStyle>
            <a:lvl1pPr>
              <a:defRPr sz="1000" b="1">
                <a:solidFill>
                  <a:schemeClr val="accent1"/>
                </a:solidFill>
              </a:defRPr>
            </a:lvl1pPr>
            <a:lvl2pPr>
              <a:defRPr/>
            </a:lvl2pPr>
            <a:lvl3pPr>
              <a:defRPr/>
            </a:lvl3pPr>
            <a:lvl4pPr>
              <a:defRPr/>
            </a:lvl4pPr>
            <a:lvl5pPr>
              <a:defRPr/>
            </a:lvl5pPr>
          </a:lstStyle>
          <a:p>
            <a:pPr lvl="0"/>
            <a:r>
              <a:rPr lang="en-US" dirty="0"/>
              <a:t>Heading</a:t>
            </a:r>
          </a:p>
          <a:p>
            <a:pPr lvl="1"/>
            <a:r>
              <a:rPr lang="en-US" dirty="0"/>
              <a:t>Body text</a:t>
            </a:r>
          </a:p>
          <a:p>
            <a:pPr lvl="2"/>
            <a:r>
              <a:rPr lang="en-US" dirty="0"/>
              <a:t>Bullet 1</a:t>
            </a:r>
          </a:p>
          <a:p>
            <a:pPr lvl="3"/>
            <a:r>
              <a:rPr lang="en-US" dirty="0"/>
              <a:t>Bullet 2</a:t>
            </a:r>
          </a:p>
          <a:p>
            <a:pPr lvl="4"/>
            <a:r>
              <a:rPr lang="en-US" dirty="0"/>
              <a:t>Bullet 3</a:t>
            </a:r>
            <a:endParaRPr lang="en-NZ" dirty="0"/>
          </a:p>
        </p:txBody>
      </p:sp>
      <p:sp>
        <p:nvSpPr>
          <p:cNvPr id="9" name="Picture Placeholder 8"/>
          <p:cNvSpPr>
            <a:spLocks noGrp="1"/>
          </p:cNvSpPr>
          <p:nvPr>
            <p:ph type="pic" sz="quarter" idx="12"/>
            <p:custDataLst>
              <p:tags r:id="rId3"/>
            </p:custDataLst>
          </p:nvPr>
        </p:nvSpPr>
        <p:spPr>
          <a:xfrm>
            <a:off x="684000" y="1817688"/>
            <a:ext cx="1371600" cy="18288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12" name="Text Placeholder 4"/>
          <p:cNvSpPr>
            <a:spLocks noGrp="1"/>
          </p:cNvSpPr>
          <p:nvPr>
            <p:ph type="body" sz="quarter" idx="19" hasCustomPrompt="1"/>
            <p:custDataLst>
              <p:tags r:id="rId4"/>
            </p:custDataLst>
          </p:nvPr>
        </p:nvSpPr>
        <p:spPr>
          <a:xfrm>
            <a:off x="3889375" y="3868949"/>
            <a:ext cx="3024188" cy="1086451"/>
          </a:xfrm>
          <a:prstGeom prst="rect">
            <a:avLst/>
          </a:prstGeom>
        </p:spPr>
        <p:txBody>
          <a:bodyPr/>
          <a:lstStyle>
            <a:lvl1pPr>
              <a:defRPr sz="1000" b="1">
                <a:solidFill>
                  <a:schemeClr val="accent1"/>
                </a:solidFill>
              </a:defRPr>
            </a:lvl1pPr>
            <a:lvl2pPr>
              <a:defRPr/>
            </a:lvl2pPr>
            <a:lvl3pPr>
              <a:defRPr/>
            </a:lvl3pPr>
            <a:lvl4pPr>
              <a:defRPr/>
            </a:lvl4pPr>
            <a:lvl5pPr>
              <a:defRPr/>
            </a:lvl5pPr>
          </a:lstStyle>
          <a:p>
            <a:pPr lvl="0"/>
            <a:r>
              <a:rPr lang="en-US" dirty="0"/>
              <a:t>Heading</a:t>
            </a:r>
          </a:p>
          <a:p>
            <a:pPr lvl="1"/>
            <a:r>
              <a:rPr lang="en-US" dirty="0"/>
              <a:t>Body text</a:t>
            </a:r>
          </a:p>
          <a:p>
            <a:pPr lvl="2"/>
            <a:r>
              <a:rPr lang="en-US" dirty="0"/>
              <a:t>Bullet 1</a:t>
            </a:r>
          </a:p>
          <a:p>
            <a:pPr lvl="3"/>
            <a:r>
              <a:rPr lang="en-US" dirty="0"/>
              <a:t>Bullet 2</a:t>
            </a:r>
          </a:p>
          <a:p>
            <a:pPr lvl="4"/>
            <a:r>
              <a:rPr lang="en-US" dirty="0"/>
              <a:t>Bullet 3</a:t>
            </a:r>
            <a:endParaRPr lang="en-NZ" dirty="0"/>
          </a:p>
        </p:txBody>
      </p:sp>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11" name="Text Placeholder 9"/>
          <p:cNvSpPr>
            <a:spLocks noGrp="1"/>
          </p:cNvSpPr>
          <p:nvPr>
            <p:ph type="body" sz="quarter" idx="14" hasCustomPrompt="1"/>
            <p:custDataLst>
              <p:tags r:id="rId5"/>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
        <p:nvSpPr>
          <p:cNvPr id="17" name="Text Placeholder 18"/>
          <p:cNvSpPr>
            <a:spLocks noGrp="1"/>
          </p:cNvSpPr>
          <p:nvPr>
            <p:ph type="body" sz="quarter" idx="16" hasCustomPrompt="1"/>
            <p:custDataLst>
              <p:tags r:id="rId6"/>
            </p:custDataLst>
          </p:nvPr>
        </p:nvSpPr>
        <p:spPr>
          <a:xfrm>
            <a:off x="2270125" y="1817688"/>
            <a:ext cx="4643437" cy="1138773"/>
          </a:xfrm>
          <a:prstGeom prst="rect">
            <a:avLst/>
          </a:prstGeom>
        </p:spPr>
        <p:txBody>
          <a:bodyPr/>
          <a:lstStyle>
            <a:lvl1pPr>
              <a:lnSpc>
                <a:spcPct val="100000"/>
              </a:lnSpc>
              <a:spcAft>
                <a:spcPts val="600"/>
              </a:spcAft>
              <a:defRPr sz="1000" b="1" baseline="0">
                <a:solidFill>
                  <a:schemeClr val="accent1"/>
                </a:solidFill>
              </a:defRPr>
            </a:lvl1pPr>
            <a:lvl2pPr>
              <a:lnSpc>
                <a:spcPct val="100000"/>
              </a:lnSpc>
              <a:spcAft>
                <a:spcPts val="600"/>
              </a:spcAft>
              <a:defRPr>
                <a:solidFill>
                  <a:schemeClr val="tx1"/>
                </a:solidFill>
              </a:defRPr>
            </a:lvl2pPr>
            <a:lvl3pPr marL="0" indent="0">
              <a:lnSpc>
                <a:spcPct val="100000"/>
              </a:lnSpc>
              <a:spcAft>
                <a:spcPts val="0"/>
              </a:spcAft>
              <a:buNone/>
              <a:defRPr baseline="0">
                <a:solidFill>
                  <a:schemeClr val="tx1"/>
                </a:solidFill>
              </a:defRPr>
            </a:lvl3pPr>
          </a:lstStyle>
          <a:p>
            <a:pPr lvl="0"/>
            <a:r>
              <a:rPr lang="en-US" dirty="0"/>
              <a:t>Name, Designation</a:t>
            </a:r>
          </a:p>
          <a:p>
            <a:pPr lvl="1"/>
            <a:r>
              <a:rPr lang="en-US" dirty="0"/>
              <a:t>Title</a:t>
            </a:r>
          </a:p>
          <a:p>
            <a:pPr lvl="2"/>
            <a:r>
              <a:rPr lang="en-US" dirty="0"/>
              <a:t>Address</a:t>
            </a:r>
          </a:p>
          <a:p>
            <a:pPr lvl="2"/>
            <a:r>
              <a:rPr lang="en-US" dirty="0"/>
              <a:t>Direct</a:t>
            </a:r>
          </a:p>
          <a:p>
            <a:pPr lvl="2"/>
            <a:r>
              <a:rPr lang="en-US" dirty="0"/>
              <a:t>Fax</a:t>
            </a:r>
          </a:p>
          <a:p>
            <a:pPr lvl="2"/>
            <a:r>
              <a:rPr lang="en-US" dirty="0"/>
              <a:t>Email </a:t>
            </a:r>
          </a:p>
          <a:p>
            <a:pPr lvl="2"/>
            <a:r>
              <a:rPr lang="en-US" dirty="0" err="1"/>
              <a:t>Lic</a:t>
            </a:r>
            <a:endParaRPr lang="en-US" dirty="0"/>
          </a:p>
        </p:txBody>
      </p:sp>
    </p:spTree>
    <p:extLst>
      <p:ext uri="{BB962C8B-B14F-4D97-AF65-F5344CB8AC3E}">
        <p14:creationId xmlns:p14="http://schemas.microsoft.com/office/powerpoint/2010/main" val="25402072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V Two">
    <p:spTree>
      <p:nvGrpSpPr>
        <p:cNvPr id="1" name=""/>
        <p:cNvGrpSpPr/>
        <p:nvPr/>
      </p:nvGrpSpPr>
      <p:grpSpPr>
        <a:xfrm>
          <a:off x="0" y="0"/>
          <a:ext cx="0" cy="0"/>
          <a:chOff x="0" y="0"/>
          <a:chExt cx="0" cy="0"/>
        </a:xfrm>
      </p:grpSpPr>
      <p:graphicFrame>
        <p:nvGraphicFramePr>
          <p:cNvPr id="13" name="Object 12" hidden="1"/>
          <p:cNvGraphicFramePr>
            <a:graphicFrameLocks/>
          </p:cNvGraphicFramePr>
          <p:nvPr userDrawn="1">
            <p:custDataLst>
              <p:tags r:id="rId1"/>
            </p:custDataLst>
            <p:extLst>
              <p:ext uri="{D42A27DB-BD31-4B8C-83A1-F6EECF244321}">
                <p14:modId xmlns:p14="http://schemas.microsoft.com/office/powerpoint/2010/main" val="1658866015"/>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10" imgW="270" imgH="270" progId="TCLayout.ActiveDocument.1">
                  <p:embed/>
                </p:oleObj>
              </mc:Choice>
              <mc:Fallback>
                <p:oleObj name="think-cell Slide" r:id="rId10" imgW="270" imgH="270" progId="TCLayout.ActiveDocument.1">
                  <p:embed/>
                  <p:pic>
                    <p:nvPicPr>
                      <p:cNvPr id="13" name="Object 12" hidden="1"/>
                      <p:cNvPicPr/>
                      <p:nvPr/>
                    </p:nvPicPr>
                    <p:blipFill>
                      <a:blip r:embed="rId11"/>
                      <a:stretch>
                        <a:fillRect/>
                      </a:stretch>
                    </p:blipFill>
                    <p:spPr>
                      <a:xfrm>
                        <a:off x="0" y="0"/>
                        <a:ext cx="112252" cy="224510"/>
                      </a:xfrm>
                      <a:prstGeom prst="rect">
                        <a:avLst/>
                      </a:prstGeom>
                    </p:spPr>
                  </p:pic>
                </p:oleObj>
              </mc:Fallback>
            </mc:AlternateContent>
          </a:graphicData>
        </a:graphic>
      </p:graphicFrame>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11" name="Text Placeholder 9"/>
          <p:cNvSpPr>
            <a:spLocks noGrp="1"/>
          </p:cNvSpPr>
          <p:nvPr>
            <p:ph type="body" sz="quarter" idx="14" hasCustomPrompt="1"/>
            <p:custDataLst>
              <p:tags r:id="rId2"/>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
        <p:nvSpPr>
          <p:cNvPr id="16" name="Picture Placeholder 8"/>
          <p:cNvSpPr>
            <a:spLocks noGrp="1"/>
          </p:cNvSpPr>
          <p:nvPr>
            <p:ph type="pic" sz="quarter" idx="12"/>
            <p:custDataLst>
              <p:tags r:id="rId3"/>
            </p:custDataLst>
          </p:nvPr>
        </p:nvSpPr>
        <p:spPr>
          <a:xfrm>
            <a:off x="684000" y="1817688"/>
            <a:ext cx="1371600" cy="18288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17" name="Picture Placeholder 8"/>
          <p:cNvSpPr>
            <a:spLocks noGrp="1"/>
          </p:cNvSpPr>
          <p:nvPr>
            <p:ph type="pic" sz="quarter" idx="20"/>
            <p:custDataLst>
              <p:tags r:id="rId4"/>
            </p:custDataLst>
          </p:nvPr>
        </p:nvSpPr>
        <p:spPr>
          <a:xfrm>
            <a:off x="3889375" y="1817688"/>
            <a:ext cx="1371600" cy="18288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18" name="Text Placeholder 18"/>
          <p:cNvSpPr>
            <a:spLocks noGrp="1"/>
          </p:cNvSpPr>
          <p:nvPr>
            <p:ph type="body" sz="quarter" idx="16" hasCustomPrompt="1"/>
            <p:custDataLst>
              <p:tags r:id="rId5"/>
            </p:custDataLst>
          </p:nvPr>
        </p:nvSpPr>
        <p:spPr>
          <a:xfrm>
            <a:off x="2270126" y="1817688"/>
            <a:ext cx="1401762" cy="1138773"/>
          </a:xfrm>
          <a:prstGeom prst="rect">
            <a:avLst/>
          </a:prstGeom>
        </p:spPr>
        <p:txBody>
          <a:bodyPr/>
          <a:lstStyle>
            <a:lvl1pPr>
              <a:lnSpc>
                <a:spcPct val="100000"/>
              </a:lnSpc>
              <a:spcAft>
                <a:spcPts val="600"/>
              </a:spcAft>
              <a:defRPr sz="1000" b="1" baseline="0">
                <a:solidFill>
                  <a:schemeClr val="accent1"/>
                </a:solidFill>
              </a:defRPr>
            </a:lvl1pPr>
            <a:lvl2pPr>
              <a:lnSpc>
                <a:spcPct val="100000"/>
              </a:lnSpc>
              <a:spcAft>
                <a:spcPts val="600"/>
              </a:spcAft>
              <a:defRPr>
                <a:solidFill>
                  <a:schemeClr val="tx1"/>
                </a:solidFill>
              </a:defRPr>
            </a:lvl2pPr>
            <a:lvl3pPr marL="0" indent="0">
              <a:lnSpc>
                <a:spcPct val="100000"/>
              </a:lnSpc>
              <a:spcAft>
                <a:spcPts val="0"/>
              </a:spcAft>
              <a:buNone/>
              <a:defRPr baseline="0">
                <a:solidFill>
                  <a:schemeClr val="tx1"/>
                </a:solidFill>
              </a:defRPr>
            </a:lvl3pPr>
          </a:lstStyle>
          <a:p>
            <a:pPr lvl="0"/>
            <a:r>
              <a:rPr lang="en-US" dirty="0"/>
              <a:t>Name, Designation</a:t>
            </a:r>
          </a:p>
          <a:p>
            <a:pPr lvl="1"/>
            <a:r>
              <a:rPr lang="en-US" dirty="0"/>
              <a:t>Title</a:t>
            </a:r>
          </a:p>
          <a:p>
            <a:pPr lvl="2"/>
            <a:r>
              <a:rPr lang="en-US" dirty="0"/>
              <a:t>Address</a:t>
            </a:r>
          </a:p>
          <a:p>
            <a:pPr lvl="2"/>
            <a:r>
              <a:rPr lang="en-US" dirty="0"/>
              <a:t>Direct</a:t>
            </a:r>
          </a:p>
          <a:p>
            <a:pPr lvl="2"/>
            <a:r>
              <a:rPr lang="en-US" dirty="0"/>
              <a:t>Fax</a:t>
            </a:r>
          </a:p>
          <a:p>
            <a:pPr lvl="2"/>
            <a:r>
              <a:rPr lang="en-US" dirty="0"/>
              <a:t>Email </a:t>
            </a:r>
          </a:p>
          <a:p>
            <a:pPr lvl="2"/>
            <a:r>
              <a:rPr lang="en-US" dirty="0" err="1"/>
              <a:t>Lic</a:t>
            </a:r>
            <a:endParaRPr lang="en-US" dirty="0"/>
          </a:p>
        </p:txBody>
      </p:sp>
      <p:sp>
        <p:nvSpPr>
          <p:cNvPr id="20" name="Text Placeholder 18"/>
          <p:cNvSpPr>
            <a:spLocks noGrp="1"/>
          </p:cNvSpPr>
          <p:nvPr>
            <p:ph type="body" sz="quarter" idx="21" hasCustomPrompt="1"/>
            <p:custDataLst>
              <p:tags r:id="rId6"/>
            </p:custDataLst>
          </p:nvPr>
        </p:nvSpPr>
        <p:spPr>
          <a:xfrm>
            <a:off x="5511801" y="1817688"/>
            <a:ext cx="1401762" cy="1138773"/>
          </a:xfrm>
          <a:prstGeom prst="rect">
            <a:avLst/>
          </a:prstGeom>
        </p:spPr>
        <p:txBody>
          <a:bodyPr/>
          <a:lstStyle>
            <a:lvl1pPr>
              <a:lnSpc>
                <a:spcPct val="100000"/>
              </a:lnSpc>
              <a:spcAft>
                <a:spcPts val="600"/>
              </a:spcAft>
              <a:defRPr sz="1000" b="1" baseline="0">
                <a:solidFill>
                  <a:schemeClr val="accent1"/>
                </a:solidFill>
              </a:defRPr>
            </a:lvl1pPr>
            <a:lvl2pPr>
              <a:lnSpc>
                <a:spcPct val="100000"/>
              </a:lnSpc>
              <a:spcAft>
                <a:spcPts val="600"/>
              </a:spcAft>
              <a:defRPr>
                <a:solidFill>
                  <a:schemeClr val="tx1"/>
                </a:solidFill>
              </a:defRPr>
            </a:lvl2pPr>
            <a:lvl3pPr marL="0" indent="0">
              <a:lnSpc>
                <a:spcPct val="100000"/>
              </a:lnSpc>
              <a:spcAft>
                <a:spcPts val="0"/>
              </a:spcAft>
              <a:buNone/>
              <a:defRPr baseline="0">
                <a:solidFill>
                  <a:schemeClr val="tx1"/>
                </a:solidFill>
              </a:defRPr>
            </a:lvl3pPr>
          </a:lstStyle>
          <a:p>
            <a:pPr lvl="0"/>
            <a:r>
              <a:rPr lang="en-US" dirty="0"/>
              <a:t>Name, Designation</a:t>
            </a:r>
          </a:p>
          <a:p>
            <a:pPr lvl="1"/>
            <a:r>
              <a:rPr lang="en-US" dirty="0"/>
              <a:t>Title</a:t>
            </a:r>
          </a:p>
          <a:p>
            <a:pPr lvl="2"/>
            <a:r>
              <a:rPr lang="en-US" dirty="0"/>
              <a:t>Address</a:t>
            </a:r>
          </a:p>
          <a:p>
            <a:pPr lvl="2"/>
            <a:r>
              <a:rPr lang="en-US" dirty="0"/>
              <a:t>Direct</a:t>
            </a:r>
          </a:p>
          <a:p>
            <a:pPr lvl="2"/>
            <a:r>
              <a:rPr lang="en-US" dirty="0"/>
              <a:t>Fax</a:t>
            </a:r>
          </a:p>
          <a:p>
            <a:pPr lvl="2"/>
            <a:r>
              <a:rPr lang="en-US" dirty="0"/>
              <a:t>Email </a:t>
            </a:r>
          </a:p>
          <a:p>
            <a:pPr lvl="2"/>
            <a:r>
              <a:rPr lang="en-US" dirty="0" err="1"/>
              <a:t>Lic</a:t>
            </a:r>
            <a:endParaRPr lang="en-US" dirty="0"/>
          </a:p>
        </p:txBody>
      </p:sp>
      <p:sp>
        <p:nvSpPr>
          <p:cNvPr id="21" name="Text Placeholder 4"/>
          <p:cNvSpPr>
            <a:spLocks noGrp="1"/>
          </p:cNvSpPr>
          <p:nvPr>
            <p:ph type="body" sz="quarter" idx="18" hasCustomPrompt="1"/>
            <p:custDataLst>
              <p:tags r:id="rId7"/>
            </p:custDataLst>
          </p:nvPr>
        </p:nvSpPr>
        <p:spPr>
          <a:xfrm>
            <a:off x="684000" y="3868949"/>
            <a:ext cx="2987888" cy="1086451"/>
          </a:xfrm>
          <a:prstGeom prst="rect">
            <a:avLst/>
          </a:prstGeom>
        </p:spPr>
        <p:txBody>
          <a:bodyPr/>
          <a:lstStyle>
            <a:lvl1pPr>
              <a:defRPr sz="1000" b="1">
                <a:solidFill>
                  <a:schemeClr val="accent1"/>
                </a:solidFill>
              </a:defRPr>
            </a:lvl1pPr>
            <a:lvl2pPr>
              <a:defRPr/>
            </a:lvl2pPr>
            <a:lvl3pPr>
              <a:defRPr/>
            </a:lvl3pPr>
            <a:lvl4pPr>
              <a:defRPr/>
            </a:lvl4pPr>
            <a:lvl5pPr>
              <a:defRPr/>
            </a:lvl5pPr>
          </a:lstStyle>
          <a:p>
            <a:pPr lvl="0"/>
            <a:r>
              <a:rPr lang="en-US" dirty="0"/>
              <a:t>Heading</a:t>
            </a:r>
          </a:p>
          <a:p>
            <a:pPr lvl="1"/>
            <a:r>
              <a:rPr lang="en-US" dirty="0"/>
              <a:t>Body text</a:t>
            </a:r>
          </a:p>
          <a:p>
            <a:pPr lvl="2"/>
            <a:r>
              <a:rPr lang="en-US" dirty="0"/>
              <a:t>Bullet 1</a:t>
            </a:r>
          </a:p>
          <a:p>
            <a:pPr lvl="3"/>
            <a:r>
              <a:rPr lang="en-US" dirty="0"/>
              <a:t>Bullet 2</a:t>
            </a:r>
          </a:p>
          <a:p>
            <a:pPr lvl="4"/>
            <a:r>
              <a:rPr lang="en-US" dirty="0"/>
              <a:t>Bullet 3</a:t>
            </a:r>
            <a:endParaRPr lang="en-NZ" dirty="0"/>
          </a:p>
        </p:txBody>
      </p:sp>
      <p:sp>
        <p:nvSpPr>
          <p:cNvPr id="27" name="Text Placeholder 4"/>
          <p:cNvSpPr>
            <a:spLocks noGrp="1"/>
          </p:cNvSpPr>
          <p:nvPr>
            <p:ph type="body" sz="quarter" idx="19" hasCustomPrompt="1"/>
            <p:custDataLst>
              <p:tags r:id="rId8"/>
            </p:custDataLst>
          </p:nvPr>
        </p:nvSpPr>
        <p:spPr>
          <a:xfrm>
            <a:off x="3889375" y="3868949"/>
            <a:ext cx="3024188" cy="1086451"/>
          </a:xfrm>
          <a:prstGeom prst="rect">
            <a:avLst/>
          </a:prstGeom>
        </p:spPr>
        <p:txBody>
          <a:bodyPr/>
          <a:lstStyle>
            <a:lvl1pPr>
              <a:defRPr sz="1000" b="1">
                <a:solidFill>
                  <a:schemeClr val="accent1"/>
                </a:solidFill>
              </a:defRPr>
            </a:lvl1pPr>
            <a:lvl2pPr>
              <a:defRPr/>
            </a:lvl2pPr>
            <a:lvl3pPr>
              <a:defRPr/>
            </a:lvl3pPr>
            <a:lvl4pPr>
              <a:defRPr/>
            </a:lvl4pPr>
            <a:lvl5pPr>
              <a:defRPr/>
            </a:lvl5pPr>
          </a:lstStyle>
          <a:p>
            <a:pPr lvl="0"/>
            <a:r>
              <a:rPr lang="en-US" dirty="0"/>
              <a:t>Heading</a:t>
            </a:r>
          </a:p>
          <a:p>
            <a:pPr lvl="1"/>
            <a:r>
              <a:rPr lang="en-US" dirty="0"/>
              <a:t>Body text</a:t>
            </a:r>
          </a:p>
          <a:p>
            <a:pPr lvl="2"/>
            <a:r>
              <a:rPr lang="en-US" dirty="0"/>
              <a:t>Bullet 1</a:t>
            </a:r>
          </a:p>
          <a:p>
            <a:pPr lvl="3"/>
            <a:r>
              <a:rPr lang="en-US" dirty="0"/>
              <a:t>Bullet 2</a:t>
            </a:r>
          </a:p>
          <a:p>
            <a:pPr lvl="4"/>
            <a:r>
              <a:rPr lang="en-US" dirty="0"/>
              <a:t>Bullet 3</a:t>
            </a:r>
            <a:endParaRPr lang="en-NZ" dirty="0"/>
          </a:p>
        </p:txBody>
      </p:sp>
    </p:spTree>
    <p:extLst>
      <p:ext uri="{BB962C8B-B14F-4D97-AF65-F5344CB8AC3E}">
        <p14:creationId xmlns:p14="http://schemas.microsoft.com/office/powerpoint/2010/main" val="4531272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V Three">
    <p:spTree>
      <p:nvGrpSpPr>
        <p:cNvPr id="1" name=""/>
        <p:cNvGrpSpPr/>
        <p:nvPr/>
      </p:nvGrpSpPr>
      <p:grpSpPr>
        <a:xfrm>
          <a:off x="0" y="0"/>
          <a:ext cx="0" cy="0"/>
          <a:chOff x="0" y="0"/>
          <a:chExt cx="0" cy="0"/>
        </a:xfrm>
      </p:grpSpPr>
      <p:graphicFrame>
        <p:nvGraphicFramePr>
          <p:cNvPr id="13" name="Object 12" hidden="1"/>
          <p:cNvGraphicFramePr>
            <a:graphicFrameLocks/>
          </p:cNvGraphicFramePr>
          <p:nvPr userDrawn="1">
            <p:custDataLst>
              <p:tags r:id="rId1"/>
            </p:custDataLst>
            <p:extLst>
              <p:ext uri="{D42A27DB-BD31-4B8C-83A1-F6EECF244321}">
                <p14:modId xmlns:p14="http://schemas.microsoft.com/office/powerpoint/2010/main" val="607689984"/>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16" imgW="270" imgH="270" progId="TCLayout.ActiveDocument.1">
                  <p:embed/>
                </p:oleObj>
              </mc:Choice>
              <mc:Fallback>
                <p:oleObj name="think-cell Slide" r:id="rId16" imgW="270" imgH="270" progId="TCLayout.ActiveDocument.1">
                  <p:embed/>
                  <p:pic>
                    <p:nvPicPr>
                      <p:cNvPr id="13" name="Object 12" hidden="1"/>
                      <p:cNvPicPr/>
                      <p:nvPr/>
                    </p:nvPicPr>
                    <p:blipFill>
                      <a:blip r:embed="rId17"/>
                      <a:stretch>
                        <a:fillRect/>
                      </a:stretch>
                    </p:blipFill>
                    <p:spPr>
                      <a:xfrm>
                        <a:off x="0" y="0"/>
                        <a:ext cx="112252" cy="224510"/>
                      </a:xfrm>
                      <a:prstGeom prst="rect">
                        <a:avLst/>
                      </a:prstGeom>
                    </p:spPr>
                  </p:pic>
                </p:oleObj>
              </mc:Fallback>
            </mc:AlternateContent>
          </a:graphicData>
        </a:graphic>
      </p:graphicFrame>
      <p:sp>
        <p:nvSpPr>
          <p:cNvPr id="20" name="Picture Placeholder 8"/>
          <p:cNvSpPr>
            <a:spLocks noGrp="1"/>
          </p:cNvSpPr>
          <p:nvPr>
            <p:ph type="pic" sz="quarter" idx="12"/>
            <p:custDataLst>
              <p:tags r:id="rId2"/>
            </p:custDataLst>
          </p:nvPr>
        </p:nvSpPr>
        <p:spPr>
          <a:xfrm>
            <a:off x="684000" y="1817688"/>
            <a:ext cx="1371600" cy="18288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3" name="Picture Placeholder 8"/>
          <p:cNvSpPr>
            <a:spLocks noGrp="1"/>
          </p:cNvSpPr>
          <p:nvPr>
            <p:ph type="pic" sz="quarter" idx="20"/>
            <p:custDataLst>
              <p:tags r:id="rId3"/>
            </p:custDataLst>
          </p:nvPr>
        </p:nvSpPr>
        <p:spPr>
          <a:xfrm>
            <a:off x="3889375" y="1817688"/>
            <a:ext cx="1371600" cy="18288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41" name="Text Placeholder 18"/>
          <p:cNvSpPr>
            <a:spLocks noGrp="1"/>
          </p:cNvSpPr>
          <p:nvPr>
            <p:ph type="body" sz="quarter" idx="16" hasCustomPrompt="1"/>
            <p:custDataLst>
              <p:tags r:id="rId4"/>
            </p:custDataLst>
          </p:nvPr>
        </p:nvSpPr>
        <p:spPr>
          <a:xfrm>
            <a:off x="2270126" y="1817688"/>
            <a:ext cx="1401762" cy="1138773"/>
          </a:xfrm>
          <a:prstGeom prst="rect">
            <a:avLst/>
          </a:prstGeom>
        </p:spPr>
        <p:txBody>
          <a:bodyPr/>
          <a:lstStyle>
            <a:lvl1pPr>
              <a:lnSpc>
                <a:spcPct val="100000"/>
              </a:lnSpc>
              <a:spcAft>
                <a:spcPts val="600"/>
              </a:spcAft>
              <a:defRPr sz="1000" b="1" baseline="0">
                <a:solidFill>
                  <a:schemeClr val="accent1"/>
                </a:solidFill>
              </a:defRPr>
            </a:lvl1pPr>
            <a:lvl2pPr>
              <a:lnSpc>
                <a:spcPct val="100000"/>
              </a:lnSpc>
              <a:spcAft>
                <a:spcPts val="600"/>
              </a:spcAft>
              <a:defRPr>
                <a:solidFill>
                  <a:schemeClr val="tx1"/>
                </a:solidFill>
              </a:defRPr>
            </a:lvl2pPr>
            <a:lvl3pPr marL="0" indent="0">
              <a:lnSpc>
                <a:spcPct val="100000"/>
              </a:lnSpc>
              <a:spcAft>
                <a:spcPts val="0"/>
              </a:spcAft>
              <a:buNone/>
              <a:defRPr baseline="0">
                <a:solidFill>
                  <a:schemeClr val="tx1"/>
                </a:solidFill>
              </a:defRPr>
            </a:lvl3pPr>
          </a:lstStyle>
          <a:p>
            <a:pPr lvl="0"/>
            <a:r>
              <a:rPr lang="en-US" dirty="0"/>
              <a:t>Name, Designation</a:t>
            </a:r>
          </a:p>
          <a:p>
            <a:pPr lvl="1"/>
            <a:r>
              <a:rPr lang="en-US" dirty="0"/>
              <a:t>Title</a:t>
            </a:r>
          </a:p>
          <a:p>
            <a:pPr lvl="2"/>
            <a:r>
              <a:rPr lang="en-US" dirty="0"/>
              <a:t>Address</a:t>
            </a:r>
          </a:p>
          <a:p>
            <a:pPr lvl="2"/>
            <a:r>
              <a:rPr lang="en-US" dirty="0"/>
              <a:t>Direct</a:t>
            </a:r>
          </a:p>
          <a:p>
            <a:pPr lvl="2"/>
            <a:r>
              <a:rPr lang="en-US" dirty="0"/>
              <a:t>Fax</a:t>
            </a:r>
          </a:p>
          <a:p>
            <a:pPr lvl="2"/>
            <a:r>
              <a:rPr lang="en-US" dirty="0"/>
              <a:t>Email </a:t>
            </a:r>
          </a:p>
          <a:p>
            <a:pPr lvl="2"/>
            <a:r>
              <a:rPr lang="en-US" dirty="0" err="1"/>
              <a:t>Lic</a:t>
            </a:r>
            <a:endParaRPr lang="en-US" dirty="0"/>
          </a:p>
        </p:txBody>
      </p:sp>
      <p:sp>
        <p:nvSpPr>
          <p:cNvPr id="42" name="Text Placeholder 18"/>
          <p:cNvSpPr>
            <a:spLocks noGrp="1"/>
          </p:cNvSpPr>
          <p:nvPr>
            <p:ph type="body" sz="quarter" idx="21" hasCustomPrompt="1"/>
            <p:custDataLst>
              <p:tags r:id="rId5"/>
            </p:custDataLst>
          </p:nvPr>
        </p:nvSpPr>
        <p:spPr>
          <a:xfrm>
            <a:off x="5511801" y="1817688"/>
            <a:ext cx="1401762" cy="1138773"/>
          </a:xfrm>
          <a:prstGeom prst="rect">
            <a:avLst/>
          </a:prstGeom>
        </p:spPr>
        <p:txBody>
          <a:bodyPr/>
          <a:lstStyle>
            <a:lvl1pPr>
              <a:lnSpc>
                <a:spcPct val="100000"/>
              </a:lnSpc>
              <a:spcAft>
                <a:spcPts val="600"/>
              </a:spcAft>
              <a:defRPr sz="1000" b="1" baseline="0">
                <a:solidFill>
                  <a:schemeClr val="accent1"/>
                </a:solidFill>
              </a:defRPr>
            </a:lvl1pPr>
            <a:lvl2pPr>
              <a:lnSpc>
                <a:spcPct val="100000"/>
              </a:lnSpc>
              <a:spcAft>
                <a:spcPts val="600"/>
              </a:spcAft>
              <a:defRPr>
                <a:solidFill>
                  <a:schemeClr val="tx1"/>
                </a:solidFill>
              </a:defRPr>
            </a:lvl2pPr>
            <a:lvl3pPr marL="0" indent="0">
              <a:lnSpc>
                <a:spcPct val="100000"/>
              </a:lnSpc>
              <a:spcAft>
                <a:spcPts val="0"/>
              </a:spcAft>
              <a:buNone/>
              <a:defRPr baseline="0">
                <a:solidFill>
                  <a:schemeClr val="tx1"/>
                </a:solidFill>
              </a:defRPr>
            </a:lvl3pPr>
          </a:lstStyle>
          <a:p>
            <a:pPr lvl="0"/>
            <a:r>
              <a:rPr lang="en-US" dirty="0"/>
              <a:t>Name, Designation</a:t>
            </a:r>
          </a:p>
          <a:p>
            <a:pPr lvl="1"/>
            <a:r>
              <a:rPr lang="en-US" dirty="0"/>
              <a:t>Title</a:t>
            </a:r>
          </a:p>
          <a:p>
            <a:pPr lvl="2"/>
            <a:r>
              <a:rPr lang="en-US" dirty="0"/>
              <a:t>Address</a:t>
            </a:r>
          </a:p>
          <a:p>
            <a:pPr lvl="2"/>
            <a:r>
              <a:rPr lang="en-US" dirty="0"/>
              <a:t>Direct</a:t>
            </a:r>
          </a:p>
          <a:p>
            <a:pPr lvl="2"/>
            <a:r>
              <a:rPr lang="en-US" dirty="0"/>
              <a:t>Fax</a:t>
            </a:r>
          </a:p>
          <a:p>
            <a:pPr lvl="2"/>
            <a:r>
              <a:rPr lang="en-US" dirty="0"/>
              <a:t>Email </a:t>
            </a:r>
          </a:p>
          <a:p>
            <a:pPr lvl="2"/>
            <a:r>
              <a:rPr lang="en-US" dirty="0" err="1"/>
              <a:t>Lic</a:t>
            </a:r>
            <a:endParaRPr lang="en-US" dirty="0"/>
          </a:p>
        </p:txBody>
      </p:sp>
      <p:sp>
        <p:nvSpPr>
          <p:cNvPr id="3" name="Title 2"/>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18" name="Text Placeholder 9"/>
          <p:cNvSpPr>
            <a:spLocks noGrp="1"/>
          </p:cNvSpPr>
          <p:nvPr>
            <p:ph type="body" sz="quarter" idx="14" hasCustomPrompt="1"/>
            <p:custDataLst>
              <p:tags r:id="rId6"/>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
        <p:nvSpPr>
          <p:cNvPr id="21" name="Text Placeholder 4"/>
          <p:cNvSpPr>
            <a:spLocks noGrp="1"/>
          </p:cNvSpPr>
          <p:nvPr>
            <p:ph type="body" sz="quarter" idx="18" hasCustomPrompt="1"/>
            <p:custDataLst>
              <p:tags r:id="rId7"/>
            </p:custDataLst>
          </p:nvPr>
        </p:nvSpPr>
        <p:spPr>
          <a:xfrm>
            <a:off x="684000" y="3868949"/>
            <a:ext cx="2987888" cy="1086451"/>
          </a:xfrm>
          <a:prstGeom prst="rect">
            <a:avLst/>
          </a:prstGeom>
        </p:spPr>
        <p:txBody>
          <a:bodyPr/>
          <a:lstStyle>
            <a:lvl1pPr>
              <a:defRPr sz="1000" b="1">
                <a:solidFill>
                  <a:schemeClr val="accent1"/>
                </a:solidFill>
              </a:defRPr>
            </a:lvl1pPr>
            <a:lvl2pPr>
              <a:defRPr/>
            </a:lvl2pPr>
            <a:lvl3pPr>
              <a:defRPr/>
            </a:lvl3pPr>
            <a:lvl4pPr>
              <a:defRPr/>
            </a:lvl4pPr>
            <a:lvl5pPr>
              <a:defRPr/>
            </a:lvl5pPr>
          </a:lstStyle>
          <a:p>
            <a:pPr lvl="0"/>
            <a:r>
              <a:rPr lang="en-US" dirty="0"/>
              <a:t>Heading</a:t>
            </a:r>
          </a:p>
          <a:p>
            <a:pPr lvl="1"/>
            <a:r>
              <a:rPr lang="en-US" dirty="0"/>
              <a:t>Body text</a:t>
            </a:r>
          </a:p>
          <a:p>
            <a:pPr lvl="2"/>
            <a:r>
              <a:rPr lang="en-US" dirty="0"/>
              <a:t>Bullet 1</a:t>
            </a:r>
          </a:p>
          <a:p>
            <a:pPr lvl="3"/>
            <a:r>
              <a:rPr lang="en-US" dirty="0"/>
              <a:t>Bullet 2</a:t>
            </a:r>
          </a:p>
          <a:p>
            <a:pPr lvl="4"/>
            <a:r>
              <a:rPr lang="en-US" dirty="0"/>
              <a:t>Bullet 3</a:t>
            </a:r>
            <a:endParaRPr lang="en-NZ" dirty="0"/>
          </a:p>
        </p:txBody>
      </p:sp>
      <p:sp>
        <p:nvSpPr>
          <p:cNvPr id="22" name="Text Placeholder 4"/>
          <p:cNvSpPr>
            <a:spLocks noGrp="1"/>
          </p:cNvSpPr>
          <p:nvPr>
            <p:ph type="body" sz="quarter" idx="19" hasCustomPrompt="1"/>
            <p:custDataLst>
              <p:tags r:id="rId8"/>
            </p:custDataLst>
          </p:nvPr>
        </p:nvSpPr>
        <p:spPr>
          <a:xfrm>
            <a:off x="3889375" y="3868949"/>
            <a:ext cx="3024188" cy="1086451"/>
          </a:xfrm>
          <a:prstGeom prst="rect">
            <a:avLst/>
          </a:prstGeom>
        </p:spPr>
        <p:txBody>
          <a:bodyPr/>
          <a:lstStyle>
            <a:lvl1pPr>
              <a:defRPr sz="1000" b="1">
                <a:solidFill>
                  <a:schemeClr val="accent1"/>
                </a:solidFill>
              </a:defRPr>
            </a:lvl1pPr>
            <a:lvl2pPr>
              <a:defRPr/>
            </a:lvl2pPr>
            <a:lvl3pPr>
              <a:defRPr/>
            </a:lvl3pPr>
            <a:lvl4pPr>
              <a:defRPr/>
            </a:lvl4pPr>
            <a:lvl5pPr>
              <a:defRPr/>
            </a:lvl5pPr>
          </a:lstStyle>
          <a:p>
            <a:pPr lvl="0"/>
            <a:r>
              <a:rPr lang="en-US" dirty="0"/>
              <a:t>Heading</a:t>
            </a:r>
          </a:p>
          <a:p>
            <a:pPr lvl="1"/>
            <a:r>
              <a:rPr lang="en-US" dirty="0"/>
              <a:t>Body text</a:t>
            </a:r>
          </a:p>
          <a:p>
            <a:pPr lvl="2"/>
            <a:r>
              <a:rPr lang="en-US" dirty="0"/>
              <a:t>Bullet 1</a:t>
            </a:r>
          </a:p>
          <a:p>
            <a:pPr lvl="3"/>
            <a:r>
              <a:rPr lang="en-US" dirty="0"/>
              <a:t>Bullet 2</a:t>
            </a:r>
          </a:p>
          <a:p>
            <a:pPr lvl="4"/>
            <a:r>
              <a:rPr lang="en-US" dirty="0"/>
              <a:t>Bullet 3</a:t>
            </a:r>
            <a:endParaRPr lang="en-NZ" dirty="0"/>
          </a:p>
        </p:txBody>
      </p:sp>
      <p:sp>
        <p:nvSpPr>
          <p:cNvPr id="24" name="Picture Placeholder 8"/>
          <p:cNvSpPr>
            <a:spLocks noGrp="1"/>
          </p:cNvSpPr>
          <p:nvPr>
            <p:ph type="pic" sz="quarter" idx="22"/>
            <p:custDataLst>
              <p:tags r:id="rId9"/>
            </p:custDataLst>
          </p:nvPr>
        </p:nvSpPr>
        <p:spPr>
          <a:xfrm>
            <a:off x="684000" y="5383153"/>
            <a:ext cx="1371600" cy="18288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5" name="Picture Placeholder 8"/>
          <p:cNvSpPr>
            <a:spLocks noGrp="1"/>
          </p:cNvSpPr>
          <p:nvPr>
            <p:ph type="pic" sz="quarter" idx="23"/>
            <p:custDataLst>
              <p:tags r:id="rId10"/>
            </p:custDataLst>
          </p:nvPr>
        </p:nvSpPr>
        <p:spPr>
          <a:xfrm>
            <a:off x="3889375" y="5383153"/>
            <a:ext cx="1371600" cy="1828800"/>
          </a:xfrm>
          <a:prstGeom prst="rect">
            <a:avLst/>
          </a:prstGeom>
          <a:solidFill>
            <a:schemeClr val="bg1">
              <a:lumMod val="95000"/>
            </a:schemeClr>
          </a:solidFill>
        </p:spPr>
        <p:txBody>
          <a:bodyPr>
            <a:noAutofit/>
          </a:bodyPr>
          <a:lstStyle>
            <a:lvl1pPr>
              <a:defRPr>
                <a:solidFill>
                  <a:schemeClr val="tx1"/>
                </a:solidFill>
              </a:defRPr>
            </a:lvl1pPr>
          </a:lstStyle>
          <a:p>
            <a:r>
              <a:rPr lang="en-US" dirty="0"/>
              <a:t>Click icon to add picture</a:t>
            </a:r>
            <a:endParaRPr lang="en-NZ" dirty="0"/>
          </a:p>
        </p:txBody>
      </p:sp>
      <p:sp>
        <p:nvSpPr>
          <p:cNvPr id="26" name="Text Placeholder 18"/>
          <p:cNvSpPr>
            <a:spLocks noGrp="1"/>
          </p:cNvSpPr>
          <p:nvPr>
            <p:ph type="body" sz="quarter" idx="24" hasCustomPrompt="1"/>
            <p:custDataLst>
              <p:tags r:id="rId11"/>
            </p:custDataLst>
          </p:nvPr>
        </p:nvSpPr>
        <p:spPr>
          <a:xfrm>
            <a:off x="2270126" y="5383153"/>
            <a:ext cx="1401762" cy="1138773"/>
          </a:xfrm>
          <a:prstGeom prst="rect">
            <a:avLst/>
          </a:prstGeom>
        </p:spPr>
        <p:txBody>
          <a:bodyPr/>
          <a:lstStyle>
            <a:lvl1pPr>
              <a:lnSpc>
                <a:spcPct val="100000"/>
              </a:lnSpc>
              <a:spcAft>
                <a:spcPts val="600"/>
              </a:spcAft>
              <a:defRPr sz="1000" b="1" baseline="0">
                <a:solidFill>
                  <a:schemeClr val="accent1"/>
                </a:solidFill>
              </a:defRPr>
            </a:lvl1pPr>
            <a:lvl2pPr>
              <a:lnSpc>
                <a:spcPct val="100000"/>
              </a:lnSpc>
              <a:spcAft>
                <a:spcPts val="600"/>
              </a:spcAft>
              <a:defRPr>
                <a:solidFill>
                  <a:schemeClr val="tx1"/>
                </a:solidFill>
              </a:defRPr>
            </a:lvl2pPr>
            <a:lvl3pPr marL="0" indent="0">
              <a:lnSpc>
                <a:spcPct val="100000"/>
              </a:lnSpc>
              <a:spcAft>
                <a:spcPts val="0"/>
              </a:spcAft>
              <a:buNone/>
              <a:defRPr baseline="0">
                <a:solidFill>
                  <a:schemeClr val="tx1"/>
                </a:solidFill>
              </a:defRPr>
            </a:lvl3pPr>
          </a:lstStyle>
          <a:p>
            <a:pPr lvl="0"/>
            <a:r>
              <a:rPr lang="en-US" dirty="0"/>
              <a:t>Name, Designation</a:t>
            </a:r>
          </a:p>
          <a:p>
            <a:pPr lvl="1"/>
            <a:r>
              <a:rPr lang="en-US" dirty="0"/>
              <a:t>Title</a:t>
            </a:r>
          </a:p>
          <a:p>
            <a:pPr lvl="2"/>
            <a:r>
              <a:rPr lang="en-US" dirty="0"/>
              <a:t>Address</a:t>
            </a:r>
          </a:p>
          <a:p>
            <a:pPr lvl="2"/>
            <a:r>
              <a:rPr lang="en-US" dirty="0"/>
              <a:t>Direct</a:t>
            </a:r>
          </a:p>
          <a:p>
            <a:pPr lvl="2"/>
            <a:r>
              <a:rPr lang="en-US" dirty="0"/>
              <a:t>Fax</a:t>
            </a:r>
          </a:p>
          <a:p>
            <a:pPr lvl="2"/>
            <a:r>
              <a:rPr lang="en-US" dirty="0"/>
              <a:t>Email </a:t>
            </a:r>
          </a:p>
          <a:p>
            <a:pPr lvl="2"/>
            <a:r>
              <a:rPr lang="en-US" dirty="0" err="1"/>
              <a:t>Lic</a:t>
            </a:r>
            <a:endParaRPr lang="en-US" dirty="0"/>
          </a:p>
        </p:txBody>
      </p:sp>
      <p:sp>
        <p:nvSpPr>
          <p:cNvPr id="27" name="Text Placeholder 18"/>
          <p:cNvSpPr>
            <a:spLocks noGrp="1"/>
          </p:cNvSpPr>
          <p:nvPr>
            <p:ph type="body" sz="quarter" idx="25" hasCustomPrompt="1"/>
            <p:custDataLst>
              <p:tags r:id="rId12"/>
            </p:custDataLst>
          </p:nvPr>
        </p:nvSpPr>
        <p:spPr>
          <a:xfrm>
            <a:off x="5511801" y="5383153"/>
            <a:ext cx="1401762" cy="1138773"/>
          </a:xfrm>
          <a:prstGeom prst="rect">
            <a:avLst/>
          </a:prstGeom>
        </p:spPr>
        <p:txBody>
          <a:bodyPr/>
          <a:lstStyle>
            <a:lvl1pPr>
              <a:lnSpc>
                <a:spcPct val="100000"/>
              </a:lnSpc>
              <a:spcAft>
                <a:spcPts val="600"/>
              </a:spcAft>
              <a:defRPr sz="1000" b="1" baseline="0">
                <a:solidFill>
                  <a:schemeClr val="accent1"/>
                </a:solidFill>
              </a:defRPr>
            </a:lvl1pPr>
            <a:lvl2pPr>
              <a:lnSpc>
                <a:spcPct val="100000"/>
              </a:lnSpc>
              <a:spcAft>
                <a:spcPts val="600"/>
              </a:spcAft>
              <a:defRPr>
                <a:solidFill>
                  <a:schemeClr val="tx1"/>
                </a:solidFill>
              </a:defRPr>
            </a:lvl2pPr>
            <a:lvl3pPr marL="0" indent="0">
              <a:lnSpc>
                <a:spcPct val="100000"/>
              </a:lnSpc>
              <a:spcAft>
                <a:spcPts val="0"/>
              </a:spcAft>
              <a:buNone/>
              <a:defRPr baseline="0">
                <a:solidFill>
                  <a:schemeClr val="tx1"/>
                </a:solidFill>
              </a:defRPr>
            </a:lvl3pPr>
          </a:lstStyle>
          <a:p>
            <a:pPr lvl="0"/>
            <a:r>
              <a:rPr lang="en-US" dirty="0"/>
              <a:t>Name, Designation</a:t>
            </a:r>
          </a:p>
          <a:p>
            <a:pPr lvl="1"/>
            <a:r>
              <a:rPr lang="en-US" dirty="0"/>
              <a:t>Title</a:t>
            </a:r>
          </a:p>
          <a:p>
            <a:pPr lvl="2"/>
            <a:r>
              <a:rPr lang="en-US" dirty="0"/>
              <a:t>Address</a:t>
            </a:r>
          </a:p>
          <a:p>
            <a:pPr lvl="2"/>
            <a:r>
              <a:rPr lang="en-US" dirty="0"/>
              <a:t>Direct</a:t>
            </a:r>
          </a:p>
          <a:p>
            <a:pPr lvl="2"/>
            <a:r>
              <a:rPr lang="en-US" dirty="0"/>
              <a:t>Fax</a:t>
            </a:r>
          </a:p>
          <a:p>
            <a:pPr lvl="2"/>
            <a:r>
              <a:rPr lang="en-US" dirty="0"/>
              <a:t>Email </a:t>
            </a:r>
          </a:p>
          <a:p>
            <a:pPr lvl="2"/>
            <a:r>
              <a:rPr lang="en-US" dirty="0" err="1"/>
              <a:t>Lic</a:t>
            </a:r>
            <a:endParaRPr lang="en-US" dirty="0"/>
          </a:p>
        </p:txBody>
      </p:sp>
      <p:sp>
        <p:nvSpPr>
          <p:cNvPr id="28" name="Text Placeholder 4"/>
          <p:cNvSpPr>
            <a:spLocks noGrp="1"/>
          </p:cNvSpPr>
          <p:nvPr>
            <p:ph type="body" sz="quarter" idx="26" hasCustomPrompt="1"/>
            <p:custDataLst>
              <p:tags r:id="rId13"/>
            </p:custDataLst>
          </p:nvPr>
        </p:nvSpPr>
        <p:spPr>
          <a:xfrm>
            <a:off x="684000" y="7434414"/>
            <a:ext cx="2987888" cy="1086451"/>
          </a:xfrm>
          <a:prstGeom prst="rect">
            <a:avLst/>
          </a:prstGeom>
        </p:spPr>
        <p:txBody>
          <a:bodyPr/>
          <a:lstStyle>
            <a:lvl1pPr>
              <a:defRPr sz="1000" b="1">
                <a:solidFill>
                  <a:schemeClr val="accent1"/>
                </a:solidFill>
              </a:defRPr>
            </a:lvl1pPr>
            <a:lvl2pPr>
              <a:defRPr/>
            </a:lvl2pPr>
            <a:lvl3pPr>
              <a:defRPr/>
            </a:lvl3pPr>
            <a:lvl4pPr>
              <a:defRPr/>
            </a:lvl4pPr>
            <a:lvl5pPr>
              <a:defRPr/>
            </a:lvl5pPr>
          </a:lstStyle>
          <a:p>
            <a:pPr lvl="0"/>
            <a:r>
              <a:rPr lang="en-US" dirty="0"/>
              <a:t>Heading</a:t>
            </a:r>
          </a:p>
          <a:p>
            <a:pPr lvl="1"/>
            <a:r>
              <a:rPr lang="en-US" dirty="0"/>
              <a:t>Body text</a:t>
            </a:r>
          </a:p>
          <a:p>
            <a:pPr lvl="2"/>
            <a:r>
              <a:rPr lang="en-US" dirty="0"/>
              <a:t>Bullet 1</a:t>
            </a:r>
          </a:p>
          <a:p>
            <a:pPr lvl="3"/>
            <a:r>
              <a:rPr lang="en-US" dirty="0"/>
              <a:t>Bullet 2</a:t>
            </a:r>
          </a:p>
          <a:p>
            <a:pPr lvl="4"/>
            <a:r>
              <a:rPr lang="en-US" dirty="0"/>
              <a:t>Bullet 3</a:t>
            </a:r>
            <a:endParaRPr lang="en-NZ" dirty="0"/>
          </a:p>
        </p:txBody>
      </p:sp>
      <p:sp>
        <p:nvSpPr>
          <p:cNvPr id="29" name="Text Placeholder 4"/>
          <p:cNvSpPr>
            <a:spLocks noGrp="1"/>
          </p:cNvSpPr>
          <p:nvPr>
            <p:ph type="body" sz="quarter" idx="27" hasCustomPrompt="1"/>
            <p:custDataLst>
              <p:tags r:id="rId14"/>
            </p:custDataLst>
          </p:nvPr>
        </p:nvSpPr>
        <p:spPr>
          <a:xfrm>
            <a:off x="3889375" y="7434414"/>
            <a:ext cx="3024188" cy="1086451"/>
          </a:xfrm>
          <a:prstGeom prst="rect">
            <a:avLst/>
          </a:prstGeom>
        </p:spPr>
        <p:txBody>
          <a:bodyPr/>
          <a:lstStyle>
            <a:lvl1pPr>
              <a:defRPr sz="1000" b="1">
                <a:solidFill>
                  <a:schemeClr val="accent1"/>
                </a:solidFill>
              </a:defRPr>
            </a:lvl1pPr>
            <a:lvl2pPr>
              <a:defRPr/>
            </a:lvl2pPr>
            <a:lvl3pPr>
              <a:defRPr/>
            </a:lvl3pPr>
            <a:lvl4pPr>
              <a:defRPr/>
            </a:lvl4pPr>
            <a:lvl5pPr>
              <a:defRPr/>
            </a:lvl5pPr>
          </a:lstStyle>
          <a:p>
            <a:pPr lvl="0"/>
            <a:r>
              <a:rPr lang="en-US" dirty="0"/>
              <a:t>Heading</a:t>
            </a:r>
          </a:p>
          <a:p>
            <a:pPr lvl="1"/>
            <a:r>
              <a:rPr lang="en-US" dirty="0"/>
              <a:t>Body text</a:t>
            </a:r>
          </a:p>
          <a:p>
            <a:pPr lvl="2"/>
            <a:r>
              <a:rPr lang="en-US" dirty="0"/>
              <a:t>Bullet 1</a:t>
            </a:r>
          </a:p>
          <a:p>
            <a:pPr lvl="3"/>
            <a:r>
              <a:rPr lang="en-US" dirty="0"/>
              <a:t>Bullet 2</a:t>
            </a:r>
          </a:p>
          <a:p>
            <a:pPr lvl="4"/>
            <a:r>
              <a:rPr lang="en-US" dirty="0"/>
              <a:t>Bullet 3</a:t>
            </a:r>
            <a:endParaRPr lang="en-NZ" dirty="0"/>
          </a:p>
        </p:txBody>
      </p:sp>
    </p:spTree>
    <p:extLst>
      <p:ext uri="{BB962C8B-B14F-4D97-AF65-F5344CB8AC3E}">
        <p14:creationId xmlns:p14="http://schemas.microsoft.com/office/powerpoint/2010/main" val="304658326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isclaimer/Last page">
    <p:spTree>
      <p:nvGrpSpPr>
        <p:cNvPr id="1" name=""/>
        <p:cNvGrpSpPr/>
        <p:nvPr/>
      </p:nvGrpSpPr>
      <p:grpSpPr>
        <a:xfrm>
          <a:off x="0" y="0"/>
          <a:ext cx="0" cy="0"/>
          <a:chOff x="0" y="0"/>
          <a:chExt cx="0" cy="0"/>
        </a:xfrm>
      </p:grpSpPr>
      <p:sp>
        <p:nvSpPr>
          <p:cNvPr id="8" name="Picture Placeholder 19"/>
          <p:cNvSpPr>
            <a:spLocks noGrp="1"/>
          </p:cNvSpPr>
          <p:nvPr>
            <p:ph type="pic" sz="quarter" idx="11" hasCustomPrompt="1"/>
            <p:custDataLst>
              <p:tags r:id="rId1"/>
            </p:custDataLst>
          </p:nvPr>
        </p:nvSpPr>
        <p:spPr>
          <a:xfrm>
            <a:off x="2003329" y="1809750"/>
            <a:ext cx="5569045" cy="8886825"/>
          </a:xfrm>
          <a:custGeom>
            <a:avLst/>
            <a:gdLst>
              <a:gd name="connsiteX0" fmla="*/ 5632914 w 5900604"/>
              <a:gd name="connsiteY0" fmla="*/ 0 h 10696575"/>
              <a:gd name="connsiteX1" fmla="*/ 5900604 w 5900604"/>
              <a:gd name="connsiteY1" fmla="*/ 0 h 10696575"/>
              <a:gd name="connsiteX2" fmla="*/ 5900604 w 5900604"/>
              <a:gd name="connsiteY2" fmla="*/ 10696575 h 10696575"/>
              <a:gd name="connsiteX3" fmla="*/ 0 w 5900604"/>
              <a:gd name="connsiteY3" fmla="*/ 10696575 h 10696575"/>
              <a:gd name="connsiteX0" fmla="*/ 5632914 w 6307004"/>
              <a:gd name="connsiteY0" fmla="*/ 0 h 10696575"/>
              <a:gd name="connsiteX1" fmla="*/ 6307004 w 6307004"/>
              <a:gd name="connsiteY1" fmla="*/ 0 h 10696575"/>
              <a:gd name="connsiteX2" fmla="*/ 5900604 w 6307004"/>
              <a:gd name="connsiteY2" fmla="*/ 10696575 h 10696575"/>
              <a:gd name="connsiteX3" fmla="*/ 0 w 6307004"/>
              <a:gd name="connsiteY3" fmla="*/ 10696575 h 10696575"/>
              <a:gd name="connsiteX4" fmla="*/ 5632914 w 6307004"/>
              <a:gd name="connsiteY4" fmla="*/ 0 h 10696575"/>
              <a:gd name="connsiteX0" fmla="*/ 5632914 w 6307004"/>
              <a:gd name="connsiteY0" fmla="*/ 0 h 10696575"/>
              <a:gd name="connsiteX1" fmla="*/ 6307004 w 6307004"/>
              <a:gd name="connsiteY1" fmla="*/ 0 h 10696575"/>
              <a:gd name="connsiteX2" fmla="*/ 6307004 w 6307004"/>
              <a:gd name="connsiteY2" fmla="*/ 10696575 h 10696575"/>
              <a:gd name="connsiteX3" fmla="*/ 0 w 6307004"/>
              <a:gd name="connsiteY3" fmla="*/ 10696575 h 10696575"/>
              <a:gd name="connsiteX4" fmla="*/ 5632914 w 6307004"/>
              <a:gd name="connsiteY4" fmla="*/ 0 h 10696575"/>
              <a:gd name="connsiteX0" fmla="*/ 5632914 w 6307004"/>
              <a:gd name="connsiteY0" fmla="*/ 0 h 10696575"/>
              <a:gd name="connsiteX1" fmla="*/ 6307004 w 6307004"/>
              <a:gd name="connsiteY1" fmla="*/ 0 h 10696575"/>
              <a:gd name="connsiteX2" fmla="*/ 6307004 w 6307004"/>
              <a:gd name="connsiteY2" fmla="*/ 10696575 h 10696575"/>
              <a:gd name="connsiteX3" fmla="*/ 0 w 6307004"/>
              <a:gd name="connsiteY3" fmla="*/ 10696575 h 10696575"/>
              <a:gd name="connsiteX4" fmla="*/ 5632914 w 6307004"/>
              <a:gd name="connsiteY4" fmla="*/ 0 h 10696575"/>
              <a:gd name="connsiteX0" fmla="*/ 5632914 w 6307004"/>
              <a:gd name="connsiteY0" fmla="*/ 0 h 10696575"/>
              <a:gd name="connsiteX1" fmla="*/ 6307004 w 6307004"/>
              <a:gd name="connsiteY1" fmla="*/ 0 h 10696575"/>
              <a:gd name="connsiteX2" fmla="*/ 6307004 w 6307004"/>
              <a:gd name="connsiteY2" fmla="*/ 10696575 h 10696575"/>
              <a:gd name="connsiteX3" fmla="*/ 0 w 6307004"/>
              <a:gd name="connsiteY3" fmla="*/ 10696575 h 10696575"/>
              <a:gd name="connsiteX4" fmla="*/ 5632914 w 6307004"/>
              <a:gd name="connsiteY4" fmla="*/ 0 h 10696575"/>
              <a:gd name="connsiteX0" fmla="*/ 5632914 w 6307004"/>
              <a:gd name="connsiteY0" fmla="*/ 0 h 10696575"/>
              <a:gd name="connsiteX1" fmla="*/ 6307004 w 6307004"/>
              <a:gd name="connsiteY1" fmla="*/ 0 h 10696575"/>
              <a:gd name="connsiteX2" fmla="*/ 6307004 w 6307004"/>
              <a:gd name="connsiteY2" fmla="*/ 10696575 h 10696575"/>
              <a:gd name="connsiteX3" fmla="*/ 0 w 6307004"/>
              <a:gd name="connsiteY3" fmla="*/ 10696575 h 10696575"/>
              <a:gd name="connsiteX4" fmla="*/ 4683220 w 6307004"/>
              <a:gd name="connsiteY4" fmla="*/ 1819275 h 10696575"/>
              <a:gd name="connsiteX5" fmla="*/ 5632914 w 6307004"/>
              <a:gd name="connsiteY5" fmla="*/ 0 h 10696575"/>
              <a:gd name="connsiteX0" fmla="*/ 5632914 w 6307004"/>
              <a:gd name="connsiteY0" fmla="*/ 0 h 10696575"/>
              <a:gd name="connsiteX1" fmla="*/ 6307004 w 6307004"/>
              <a:gd name="connsiteY1" fmla="*/ 0 h 10696575"/>
              <a:gd name="connsiteX2" fmla="*/ 6292945 w 6307004"/>
              <a:gd name="connsiteY2" fmla="*/ 1809750 h 10696575"/>
              <a:gd name="connsiteX3" fmla="*/ 6307004 w 6307004"/>
              <a:gd name="connsiteY3" fmla="*/ 10696575 h 10696575"/>
              <a:gd name="connsiteX4" fmla="*/ 0 w 6307004"/>
              <a:gd name="connsiteY4" fmla="*/ 10696575 h 10696575"/>
              <a:gd name="connsiteX5" fmla="*/ 4683220 w 6307004"/>
              <a:gd name="connsiteY5" fmla="*/ 1819275 h 10696575"/>
              <a:gd name="connsiteX6" fmla="*/ 5632914 w 6307004"/>
              <a:gd name="connsiteY6" fmla="*/ 0 h 10696575"/>
              <a:gd name="connsiteX0" fmla="*/ 4683220 w 6307004"/>
              <a:gd name="connsiteY0" fmla="*/ 1819275 h 10696575"/>
              <a:gd name="connsiteX1" fmla="*/ 6307004 w 6307004"/>
              <a:gd name="connsiteY1" fmla="*/ 0 h 10696575"/>
              <a:gd name="connsiteX2" fmla="*/ 6292945 w 6307004"/>
              <a:gd name="connsiteY2" fmla="*/ 1809750 h 10696575"/>
              <a:gd name="connsiteX3" fmla="*/ 6307004 w 6307004"/>
              <a:gd name="connsiteY3" fmla="*/ 10696575 h 10696575"/>
              <a:gd name="connsiteX4" fmla="*/ 0 w 6307004"/>
              <a:gd name="connsiteY4" fmla="*/ 10696575 h 10696575"/>
              <a:gd name="connsiteX5" fmla="*/ 4683220 w 6307004"/>
              <a:gd name="connsiteY5" fmla="*/ 1819275 h 10696575"/>
              <a:gd name="connsiteX0" fmla="*/ 4683220 w 6307004"/>
              <a:gd name="connsiteY0" fmla="*/ 9525 h 8886825"/>
              <a:gd name="connsiteX1" fmla="*/ 6292945 w 6307004"/>
              <a:gd name="connsiteY1" fmla="*/ 0 h 8886825"/>
              <a:gd name="connsiteX2" fmla="*/ 6307004 w 6307004"/>
              <a:gd name="connsiteY2" fmla="*/ 8886825 h 8886825"/>
              <a:gd name="connsiteX3" fmla="*/ 0 w 6307004"/>
              <a:gd name="connsiteY3" fmla="*/ 8886825 h 8886825"/>
              <a:gd name="connsiteX4" fmla="*/ 4683220 w 6307004"/>
              <a:gd name="connsiteY4" fmla="*/ 9525 h 8886825"/>
              <a:gd name="connsiteX0" fmla="*/ 4683220 w 6307004"/>
              <a:gd name="connsiteY0" fmla="*/ 9525 h 8886825"/>
              <a:gd name="connsiteX1" fmla="*/ 5569045 w 6307004"/>
              <a:gd name="connsiteY1" fmla="*/ 0 h 8886825"/>
              <a:gd name="connsiteX2" fmla="*/ 6292945 w 6307004"/>
              <a:gd name="connsiteY2" fmla="*/ 0 h 8886825"/>
              <a:gd name="connsiteX3" fmla="*/ 6307004 w 6307004"/>
              <a:gd name="connsiteY3" fmla="*/ 8886825 h 8886825"/>
              <a:gd name="connsiteX4" fmla="*/ 0 w 6307004"/>
              <a:gd name="connsiteY4" fmla="*/ 8886825 h 8886825"/>
              <a:gd name="connsiteX5" fmla="*/ 4683220 w 6307004"/>
              <a:gd name="connsiteY5" fmla="*/ 9525 h 8886825"/>
              <a:gd name="connsiteX0" fmla="*/ 4683220 w 6307004"/>
              <a:gd name="connsiteY0" fmla="*/ 9525 h 8886825"/>
              <a:gd name="connsiteX1" fmla="*/ 5569045 w 6307004"/>
              <a:gd name="connsiteY1" fmla="*/ 0 h 8886825"/>
              <a:gd name="connsiteX2" fmla="*/ 6307004 w 6307004"/>
              <a:gd name="connsiteY2" fmla="*/ 8886825 h 8886825"/>
              <a:gd name="connsiteX3" fmla="*/ 0 w 6307004"/>
              <a:gd name="connsiteY3" fmla="*/ 8886825 h 8886825"/>
              <a:gd name="connsiteX4" fmla="*/ 4683220 w 6307004"/>
              <a:gd name="connsiteY4" fmla="*/ 9525 h 8886825"/>
              <a:gd name="connsiteX0" fmla="*/ 4683220 w 6307004"/>
              <a:gd name="connsiteY0" fmla="*/ 9525 h 8886825"/>
              <a:gd name="connsiteX1" fmla="*/ 5569045 w 6307004"/>
              <a:gd name="connsiteY1" fmla="*/ 0 h 8886825"/>
              <a:gd name="connsiteX2" fmla="*/ 6307004 w 6307004"/>
              <a:gd name="connsiteY2" fmla="*/ 8886825 h 8886825"/>
              <a:gd name="connsiteX3" fmla="*/ 5569045 w 6307004"/>
              <a:gd name="connsiteY3" fmla="*/ 8877300 h 8886825"/>
              <a:gd name="connsiteX4" fmla="*/ 0 w 6307004"/>
              <a:gd name="connsiteY4" fmla="*/ 8886825 h 8886825"/>
              <a:gd name="connsiteX5" fmla="*/ 4683220 w 6307004"/>
              <a:gd name="connsiteY5" fmla="*/ 9525 h 8886825"/>
              <a:gd name="connsiteX0" fmla="*/ 4683220 w 5569045"/>
              <a:gd name="connsiteY0" fmla="*/ 9525 h 8886825"/>
              <a:gd name="connsiteX1" fmla="*/ 5569045 w 5569045"/>
              <a:gd name="connsiteY1" fmla="*/ 0 h 8886825"/>
              <a:gd name="connsiteX2" fmla="*/ 5569045 w 5569045"/>
              <a:gd name="connsiteY2" fmla="*/ 8877300 h 8886825"/>
              <a:gd name="connsiteX3" fmla="*/ 0 w 5569045"/>
              <a:gd name="connsiteY3" fmla="*/ 8886825 h 8886825"/>
              <a:gd name="connsiteX4" fmla="*/ 4683220 w 5569045"/>
              <a:gd name="connsiteY4" fmla="*/ 9525 h 88868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9045" h="8886825">
                <a:moveTo>
                  <a:pt x="4683220" y="9525"/>
                </a:moveTo>
                <a:lnTo>
                  <a:pt x="5569045" y="0"/>
                </a:lnTo>
                <a:lnTo>
                  <a:pt x="5569045" y="8877300"/>
                </a:lnTo>
                <a:lnTo>
                  <a:pt x="0" y="8886825"/>
                </a:lnTo>
                <a:lnTo>
                  <a:pt x="4683220" y="9525"/>
                </a:lnTo>
                <a:close/>
              </a:path>
            </a:pathLst>
          </a:custGeom>
          <a:solidFill>
            <a:schemeClr val="bg1">
              <a:lumMod val="95000"/>
            </a:schemeClr>
          </a:solidFill>
          <a:ln>
            <a:noFill/>
          </a:ln>
        </p:spPr>
        <p:txBody>
          <a:bodyPr wrap="square" anchor="ctr">
            <a:noAutofit/>
          </a:bodyPr>
          <a:lstStyle>
            <a:lvl1pPr algn="ctr">
              <a:defRPr>
                <a:solidFill>
                  <a:schemeClr val="tx1"/>
                </a:solidFill>
              </a:defRPr>
            </a:lvl1pPr>
          </a:lstStyle>
          <a:p>
            <a:r>
              <a:rPr lang="en-US" dirty="0"/>
              <a:t>Click icon to </a:t>
            </a:r>
            <a:br>
              <a:rPr lang="en-US" dirty="0"/>
            </a:br>
            <a:r>
              <a:rPr lang="en-US" dirty="0"/>
              <a:t>add picture</a:t>
            </a:r>
            <a:endParaRPr lang="en-GB" dirty="0"/>
          </a:p>
        </p:txBody>
      </p:sp>
      <p:sp>
        <p:nvSpPr>
          <p:cNvPr id="16" name="Freeform 15"/>
          <p:cNvSpPr/>
          <p:nvPr userDrawn="1"/>
        </p:nvSpPr>
        <p:spPr>
          <a:xfrm>
            <a:off x="0" y="1809750"/>
            <a:ext cx="6708775" cy="8875713"/>
          </a:xfrm>
          <a:custGeom>
            <a:avLst/>
            <a:gdLst>
              <a:gd name="connsiteX0" fmla="*/ 0 w 6708775"/>
              <a:gd name="connsiteY0" fmla="*/ 0 h 8875713"/>
              <a:gd name="connsiteX1" fmla="*/ 6708775 w 6708775"/>
              <a:gd name="connsiteY1" fmla="*/ 0 h 8875713"/>
              <a:gd name="connsiteX2" fmla="*/ 2008558 w 6708775"/>
              <a:gd name="connsiteY2" fmla="*/ 8875713 h 8875713"/>
              <a:gd name="connsiteX3" fmla="*/ 0 w 6708775"/>
              <a:gd name="connsiteY3" fmla="*/ 8875713 h 8875713"/>
              <a:gd name="connsiteX4" fmla="*/ 0 w 6708775"/>
              <a:gd name="connsiteY4" fmla="*/ 0 h 88757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8775" h="8875713">
                <a:moveTo>
                  <a:pt x="0" y="0"/>
                </a:moveTo>
                <a:lnTo>
                  <a:pt x="6708775" y="0"/>
                </a:lnTo>
                <a:lnTo>
                  <a:pt x="2008558" y="8875713"/>
                </a:lnTo>
                <a:lnTo>
                  <a:pt x="0" y="8875713"/>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GB" sz="1200" dirty="0">
              <a:solidFill>
                <a:schemeClr val="bg1"/>
              </a:solidFill>
            </a:endParaRPr>
          </a:p>
        </p:txBody>
      </p:sp>
      <p:graphicFrame>
        <p:nvGraphicFramePr>
          <p:cNvPr id="4" name="Object 3" hidden="1"/>
          <p:cNvGraphicFramePr>
            <a:graphicFrameLocks/>
          </p:cNvGraphicFramePr>
          <p:nvPr userDrawn="1">
            <p:custDataLst>
              <p:tags r:id="rId2"/>
            </p:custDataLst>
            <p:extLst>
              <p:ext uri="{D42A27DB-BD31-4B8C-83A1-F6EECF244321}">
                <p14:modId xmlns:p14="http://schemas.microsoft.com/office/powerpoint/2010/main" val="55193248"/>
              </p:ext>
            </p:extLst>
          </p:nvPr>
        </p:nvGraphicFramePr>
        <p:xfrm>
          <a:off x="1" y="1"/>
          <a:ext cx="131272" cy="247532"/>
        </p:xfrm>
        <a:graphic>
          <a:graphicData uri="http://schemas.openxmlformats.org/presentationml/2006/ole">
            <mc:AlternateContent xmlns:mc="http://schemas.openxmlformats.org/markup-compatibility/2006">
              <mc:Choice xmlns:v="urn:schemas-microsoft-com:vml" Requires="v">
                <p:oleObj name="think-cell Slide" r:id="rId7" imgW="360" imgH="360" progId="TCLayout.ActiveDocument.1">
                  <p:embed/>
                </p:oleObj>
              </mc:Choice>
              <mc:Fallback>
                <p:oleObj name="think-cell Slide" r:id="rId7" imgW="360" imgH="360" progId="TCLayout.ActiveDocument.1">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1"/>
                        <a:ext cx="131272" cy="247532"/>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Text Placeholder 13"/>
          <p:cNvSpPr>
            <a:spLocks noGrp="1"/>
          </p:cNvSpPr>
          <p:nvPr>
            <p:ph type="body" sz="quarter" idx="15" hasCustomPrompt="1"/>
            <p:custDataLst>
              <p:tags r:id="rId3"/>
            </p:custDataLst>
          </p:nvPr>
        </p:nvSpPr>
        <p:spPr>
          <a:xfrm>
            <a:off x="684000" y="2916000"/>
            <a:ext cx="1600205" cy="220060"/>
          </a:xfrm>
          <a:prstGeom prst="rect">
            <a:avLst/>
          </a:prstGeom>
        </p:spPr>
        <p:txBody>
          <a:bodyPr lIns="0" tIns="0" rIns="0" bIns="0"/>
          <a:lstStyle>
            <a:lvl1pPr marL="0" indent="0">
              <a:spcBef>
                <a:spcPts val="0"/>
              </a:spcBef>
              <a:spcAft>
                <a:spcPts val="0"/>
              </a:spcAft>
              <a:buNone/>
              <a:defRPr sz="1300" b="0">
                <a:solidFill>
                  <a:schemeClr val="bg1"/>
                </a:solidFill>
                <a:latin typeface="+mn-lt"/>
              </a:defRPr>
            </a:lvl1pPr>
            <a:lvl2pPr marL="0" indent="0">
              <a:spcBef>
                <a:spcPts val="0"/>
              </a:spcBef>
              <a:spcAft>
                <a:spcPts val="0"/>
              </a:spcAft>
              <a:buNone/>
              <a:defRPr sz="1300" b="1">
                <a:solidFill>
                  <a:schemeClr val="bg1"/>
                </a:solidFill>
                <a:latin typeface="+mn-lt"/>
              </a:defRPr>
            </a:lvl2pPr>
            <a:lvl3pPr>
              <a:spcAft>
                <a:spcPts val="0"/>
              </a:spcAft>
              <a:buNone/>
              <a:defRPr sz="1300" b="1">
                <a:solidFill>
                  <a:schemeClr val="bg1"/>
                </a:solidFill>
                <a:latin typeface="+mn-lt"/>
              </a:defRPr>
            </a:lvl3pPr>
            <a:lvl4pPr>
              <a:buNone/>
              <a:defRPr sz="1200">
                <a:solidFill>
                  <a:schemeClr val="accent6"/>
                </a:solidFill>
              </a:defRPr>
            </a:lvl4pPr>
            <a:lvl5pPr>
              <a:buNone/>
              <a:defRPr sz="1200">
                <a:solidFill>
                  <a:schemeClr val="accent6"/>
                </a:solidFill>
              </a:defRPr>
            </a:lvl5pPr>
          </a:lstStyle>
          <a:p>
            <a:pPr lvl="0"/>
            <a:r>
              <a:rPr lang="en-US" dirty="0"/>
              <a:t>Broker contact details</a:t>
            </a:r>
          </a:p>
        </p:txBody>
      </p:sp>
      <p:sp>
        <p:nvSpPr>
          <p:cNvPr id="14" name="Text Placeholder 13"/>
          <p:cNvSpPr>
            <a:spLocks noGrp="1"/>
          </p:cNvSpPr>
          <p:nvPr>
            <p:ph type="body" sz="quarter" idx="14" hasCustomPrompt="1"/>
            <p:custDataLst>
              <p:tags r:id="rId4"/>
            </p:custDataLst>
          </p:nvPr>
        </p:nvSpPr>
        <p:spPr>
          <a:xfrm>
            <a:off x="701676" y="5468295"/>
            <a:ext cx="2978150" cy="381643"/>
          </a:xfrm>
          <a:prstGeom prst="rect">
            <a:avLst/>
          </a:prstGeom>
        </p:spPr>
        <p:txBody>
          <a:bodyPr lIns="0" tIns="0" rIns="0" bIns="0" anchor="b" anchorCtr="0"/>
          <a:lstStyle>
            <a:lvl1pPr marL="0" indent="0">
              <a:spcBef>
                <a:spcPts val="0"/>
              </a:spcBef>
              <a:spcAft>
                <a:spcPts val="600"/>
              </a:spcAft>
              <a:buNone/>
              <a:defRPr sz="900" b="0">
                <a:solidFill>
                  <a:schemeClr val="bg1"/>
                </a:solidFill>
              </a:defRPr>
            </a:lvl1pPr>
            <a:lvl2pPr marL="0" indent="0">
              <a:spcBef>
                <a:spcPts val="0"/>
              </a:spcBef>
              <a:spcAft>
                <a:spcPts val="1000"/>
              </a:spcAft>
              <a:buNone/>
              <a:defRPr sz="1200">
                <a:solidFill>
                  <a:schemeClr val="accent6"/>
                </a:solidFill>
              </a:defRPr>
            </a:lvl2pPr>
            <a:lvl3pPr>
              <a:buNone/>
              <a:defRPr sz="1200">
                <a:solidFill>
                  <a:schemeClr val="accent6"/>
                </a:solidFill>
              </a:defRPr>
            </a:lvl3pPr>
            <a:lvl4pPr>
              <a:buNone/>
              <a:defRPr sz="1200">
                <a:solidFill>
                  <a:schemeClr val="accent6"/>
                </a:solidFill>
              </a:defRPr>
            </a:lvl4pPr>
            <a:lvl5pPr>
              <a:buNone/>
              <a:defRPr sz="1200">
                <a:solidFill>
                  <a:schemeClr val="accent6"/>
                </a:solidFill>
              </a:defRPr>
            </a:lvl5pPr>
          </a:lstStyle>
          <a:p>
            <a:pPr lvl="0"/>
            <a:r>
              <a:rPr lang="en-US" dirty="0"/>
              <a:t>© </a:t>
            </a:r>
            <a:r>
              <a:rPr lang="en-US" dirty="0" err="1"/>
              <a:t>xxxx</a:t>
            </a:r>
            <a:endParaRPr lang="en-US" dirty="0"/>
          </a:p>
          <a:p>
            <a:pPr lvl="0"/>
            <a:r>
              <a:rPr lang="en-US" dirty="0"/>
              <a:t>Disclaimer information here</a:t>
            </a:r>
          </a:p>
        </p:txBody>
      </p:sp>
      <p:sp>
        <p:nvSpPr>
          <p:cNvPr id="15" name="Text Placeholder 13"/>
          <p:cNvSpPr>
            <a:spLocks noGrp="1"/>
          </p:cNvSpPr>
          <p:nvPr>
            <p:ph type="body" sz="quarter" idx="17" hasCustomPrompt="1"/>
            <p:custDataLst>
              <p:tags r:id="rId5"/>
            </p:custDataLst>
          </p:nvPr>
        </p:nvSpPr>
        <p:spPr>
          <a:xfrm>
            <a:off x="2811463" y="2916000"/>
            <a:ext cx="1600205" cy="220060"/>
          </a:xfrm>
          <a:prstGeom prst="rect">
            <a:avLst/>
          </a:prstGeom>
        </p:spPr>
        <p:txBody>
          <a:bodyPr lIns="0" tIns="0" rIns="0" bIns="0"/>
          <a:lstStyle>
            <a:lvl1pPr marL="0" indent="0">
              <a:spcBef>
                <a:spcPts val="0"/>
              </a:spcBef>
              <a:spcAft>
                <a:spcPts val="0"/>
              </a:spcAft>
              <a:buNone/>
              <a:defRPr sz="1300" b="0">
                <a:solidFill>
                  <a:schemeClr val="bg1"/>
                </a:solidFill>
                <a:latin typeface="+mn-lt"/>
              </a:defRPr>
            </a:lvl1pPr>
            <a:lvl2pPr marL="0" indent="0">
              <a:spcBef>
                <a:spcPts val="0"/>
              </a:spcBef>
              <a:spcAft>
                <a:spcPts val="0"/>
              </a:spcAft>
              <a:buNone/>
              <a:defRPr sz="1300" b="1">
                <a:solidFill>
                  <a:schemeClr val="bg1"/>
                </a:solidFill>
                <a:latin typeface="+mn-lt"/>
              </a:defRPr>
            </a:lvl2pPr>
            <a:lvl3pPr>
              <a:spcAft>
                <a:spcPts val="0"/>
              </a:spcAft>
              <a:buNone/>
              <a:defRPr sz="1300" b="1">
                <a:solidFill>
                  <a:schemeClr val="bg1"/>
                </a:solidFill>
                <a:latin typeface="+mn-lt"/>
              </a:defRPr>
            </a:lvl3pPr>
            <a:lvl4pPr>
              <a:buNone/>
              <a:defRPr sz="1200">
                <a:solidFill>
                  <a:schemeClr val="accent6"/>
                </a:solidFill>
              </a:defRPr>
            </a:lvl4pPr>
            <a:lvl5pPr>
              <a:buNone/>
              <a:defRPr sz="1200">
                <a:solidFill>
                  <a:schemeClr val="accent6"/>
                </a:solidFill>
              </a:defRPr>
            </a:lvl5pPr>
          </a:lstStyle>
          <a:p>
            <a:pPr lvl="0"/>
            <a:r>
              <a:rPr lang="en-US" dirty="0"/>
              <a:t>Broker contact details </a:t>
            </a:r>
          </a:p>
        </p:txBody>
      </p:sp>
      <p:pic>
        <p:nvPicPr>
          <p:cNvPr id="10" name="Picture 9"/>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87102" y="760253"/>
            <a:ext cx="1394551" cy="408522"/>
          </a:xfrm>
          <a:prstGeom prst="rect">
            <a:avLst/>
          </a:prstGeom>
        </p:spPr>
      </p:pic>
    </p:spTree>
    <p:extLst>
      <p:ext uri="{BB962C8B-B14F-4D97-AF65-F5344CB8AC3E}">
        <p14:creationId xmlns:p14="http://schemas.microsoft.com/office/powerpoint/2010/main" val="14396006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genda On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p:cNvGraphicFramePr>
          <p:nvPr userDrawn="1">
            <p:custDataLst>
              <p:tags r:id="rId1"/>
            </p:custDataLst>
            <p:extLst>
              <p:ext uri="{D42A27DB-BD31-4B8C-83A1-F6EECF244321}">
                <p14:modId xmlns:p14="http://schemas.microsoft.com/office/powerpoint/2010/main" val="3206303833"/>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0" y="0"/>
                        <a:ext cx="112252" cy="224510"/>
                      </a:xfrm>
                      <a:prstGeom prst="rect">
                        <a:avLst/>
                      </a:prstGeom>
                    </p:spPr>
                  </p:pic>
                </p:oleObj>
              </mc:Fallback>
            </mc:AlternateContent>
          </a:graphicData>
        </a:graphic>
      </p:graphicFrame>
      <p:sp>
        <p:nvSpPr>
          <p:cNvPr id="2" name="Title 1"/>
          <p:cNvSpPr>
            <a:spLocks noGrp="1"/>
          </p:cNvSpPr>
          <p:nvPr>
            <p:ph type="ctrTitle" hasCustomPrompt="1"/>
            <p:custDataLst>
              <p:tags r:id="rId2"/>
            </p:custDataLst>
          </p:nvPr>
        </p:nvSpPr>
        <p:spPr>
          <a:xfrm>
            <a:off x="684213" y="1817688"/>
            <a:ext cx="3855810" cy="369332"/>
          </a:xfrm>
          <a:prstGeom prst="rect">
            <a:avLst/>
          </a:prstGeom>
        </p:spPr>
        <p:txBody>
          <a:bodyPr wrap="square" anchor="t" anchorCtr="0">
            <a:spAutoFit/>
          </a:bodyPr>
          <a:lstStyle>
            <a:lvl1pPr algn="l">
              <a:defRPr>
                <a:solidFill>
                  <a:schemeClr val="accent1"/>
                </a:solidFill>
              </a:defRPr>
            </a:lvl1pPr>
          </a:lstStyle>
          <a:p>
            <a:r>
              <a:rPr lang="en-US" dirty="0"/>
              <a:t>Agenda</a:t>
            </a:r>
            <a:endParaRPr lang="en-GB" dirty="0"/>
          </a:p>
        </p:txBody>
      </p:sp>
      <p:sp>
        <p:nvSpPr>
          <p:cNvPr id="3" name="Subtitle 2"/>
          <p:cNvSpPr>
            <a:spLocks noGrp="1"/>
          </p:cNvSpPr>
          <p:nvPr>
            <p:ph type="subTitle" idx="1" hasCustomPrompt="1"/>
            <p:custDataLst>
              <p:tags r:id="rId3"/>
            </p:custDataLst>
          </p:nvPr>
        </p:nvSpPr>
        <p:spPr>
          <a:xfrm>
            <a:off x="684213" y="2363602"/>
            <a:ext cx="3855810" cy="483209"/>
          </a:xfrm>
          <a:prstGeom prst="rect">
            <a:avLst/>
          </a:prstGeom>
        </p:spPr>
        <p:txBody>
          <a:bodyPr/>
          <a:lstStyle>
            <a:lvl1pPr marL="0" marR="0" indent="0" algn="l" defTabSz="995690" rtl="0" eaLnBrk="1" fontAlgn="auto" latinLnBrk="0" hangingPunct="1">
              <a:lnSpc>
                <a:spcPct val="110000"/>
              </a:lnSpc>
              <a:spcBef>
                <a:spcPts val="0"/>
              </a:spcBef>
              <a:spcAft>
                <a:spcPts val="600"/>
              </a:spcAft>
              <a:buClrTx/>
              <a:buSzTx/>
              <a:buFont typeface="Arial" panose="020B0604020202020204" pitchFamily="34" charset="0"/>
              <a:buNone/>
              <a:tabLst/>
              <a:defRPr sz="1200" b="0" baseline="0">
                <a:solidFill>
                  <a:schemeClr val="tx1"/>
                </a:solidFill>
                <a:latin typeface="+mn-lt"/>
              </a:defRPr>
            </a:lvl1pPr>
            <a:lvl2pPr marL="177800" indent="-177800" algn="l">
              <a:buFont typeface="Arial" panose="020B0604020202020204" pitchFamily="34" charset="0"/>
              <a:buChar char="•"/>
              <a:defRPr sz="1200">
                <a:solidFill>
                  <a:schemeClr val="tx1"/>
                </a:solidFill>
                <a:latin typeface="+mn-lt"/>
              </a:defRPr>
            </a:lvl2pPr>
            <a:lvl3pPr marL="995690" indent="0" algn="ctr">
              <a:buNone/>
              <a:defRPr>
                <a:solidFill>
                  <a:schemeClr val="tx1">
                    <a:tint val="75000"/>
                  </a:schemeClr>
                </a:solidFill>
              </a:defRPr>
            </a:lvl3pPr>
            <a:lvl4pPr marL="1493535" indent="0" algn="ctr">
              <a:buNone/>
              <a:defRPr>
                <a:solidFill>
                  <a:schemeClr val="tx1">
                    <a:tint val="75000"/>
                  </a:schemeClr>
                </a:solidFill>
              </a:defRPr>
            </a:lvl4pPr>
            <a:lvl5pPr marL="1991380" indent="0" algn="ctr">
              <a:buNone/>
              <a:defRPr>
                <a:solidFill>
                  <a:schemeClr val="tx1">
                    <a:tint val="75000"/>
                  </a:schemeClr>
                </a:solidFill>
              </a:defRPr>
            </a:lvl5pPr>
            <a:lvl6pPr marL="2489225" indent="0" algn="ctr">
              <a:buNone/>
              <a:defRPr>
                <a:solidFill>
                  <a:schemeClr val="tx1">
                    <a:tint val="75000"/>
                  </a:schemeClr>
                </a:solidFill>
              </a:defRPr>
            </a:lvl6pPr>
            <a:lvl7pPr marL="2987070" indent="0" algn="ctr">
              <a:buNone/>
              <a:defRPr>
                <a:solidFill>
                  <a:schemeClr val="tx1">
                    <a:tint val="75000"/>
                  </a:schemeClr>
                </a:solidFill>
              </a:defRPr>
            </a:lvl7pPr>
            <a:lvl8pPr marL="3484916" indent="0" algn="ctr">
              <a:buNone/>
              <a:defRPr>
                <a:solidFill>
                  <a:schemeClr val="tx1">
                    <a:tint val="75000"/>
                  </a:schemeClr>
                </a:solidFill>
              </a:defRPr>
            </a:lvl8pPr>
            <a:lvl9pPr marL="3982761" indent="0" algn="ctr">
              <a:buNone/>
              <a:defRPr>
                <a:solidFill>
                  <a:schemeClr val="tx1">
                    <a:tint val="75000"/>
                  </a:schemeClr>
                </a:solidFill>
              </a:defRPr>
            </a:lvl9pPr>
          </a:lstStyle>
          <a:p>
            <a:r>
              <a:rPr lang="en-US" dirty="0"/>
              <a:t>Contents list</a:t>
            </a:r>
          </a:p>
          <a:p>
            <a:pPr lvl="1"/>
            <a:r>
              <a:rPr lang="en-US" dirty="0"/>
              <a:t>Bullet 1</a:t>
            </a:r>
          </a:p>
        </p:txBody>
      </p:sp>
      <p:sp>
        <p:nvSpPr>
          <p:cNvPr id="9" name="Freeform 89"/>
          <p:cNvSpPr>
            <a:spLocks/>
          </p:cNvSpPr>
          <p:nvPr userDrawn="1"/>
        </p:nvSpPr>
        <p:spPr bwMode="auto">
          <a:xfrm>
            <a:off x="957262" y="1828799"/>
            <a:ext cx="6604001" cy="8864601"/>
          </a:xfrm>
          <a:custGeom>
            <a:avLst/>
            <a:gdLst>
              <a:gd name="T0" fmla="*/ 4160 w 4160"/>
              <a:gd name="T1" fmla="*/ 0 h 5584"/>
              <a:gd name="T2" fmla="*/ 2937 w 4160"/>
              <a:gd name="T3" fmla="*/ 0 h 5584"/>
              <a:gd name="T4" fmla="*/ 0 w 4160"/>
              <a:gd name="T5" fmla="*/ 5584 h 5584"/>
              <a:gd name="T6" fmla="*/ 4160 w 4160"/>
              <a:gd name="T7" fmla="*/ 5584 h 5584"/>
              <a:gd name="T8" fmla="*/ 4160 w 4160"/>
              <a:gd name="T9" fmla="*/ 0 h 5584"/>
            </a:gdLst>
            <a:ahLst/>
            <a:cxnLst>
              <a:cxn ang="0">
                <a:pos x="T0" y="T1"/>
              </a:cxn>
              <a:cxn ang="0">
                <a:pos x="T2" y="T3"/>
              </a:cxn>
              <a:cxn ang="0">
                <a:pos x="T4" y="T5"/>
              </a:cxn>
              <a:cxn ang="0">
                <a:pos x="T6" y="T7"/>
              </a:cxn>
              <a:cxn ang="0">
                <a:pos x="T8" y="T9"/>
              </a:cxn>
            </a:cxnLst>
            <a:rect l="0" t="0" r="r" b="b"/>
            <a:pathLst>
              <a:path w="4160" h="5584">
                <a:moveTo>
                  <a:pt x="4160" y="0"/>
                </a:moveTo>
                <a:lnTo>
                  <a:pt x="2937" y="0"/>
                </a:lnTo>
                <a:lnTo>
                  <a:pt x="0" y="5584"/>
                </a:lnTo>
                <a:lnTo>
                  <a:pt x="4160" y="5584"/>
                </a:lnTo>
                <a:lnTo>
                  <a:pt x="4160" y="0"/>
                </a:lnTo>
                <a:close/>
              </a:path>
            </a:pathLst>
          </a:custGeom>
          <a:solidFill>
            <a:srgbClr val="E30C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16919" y="553713"/>
            <a:ext cx="2165429" cy="595779"/>
          </a:xfrm>
          <a:prstGeom prst="rect">
            <a:avLst/>
          </a:prstGeom>
        </p:spPr>
      </p:pic>
    </p:spTree>
    <p:extLst>
      <p:ext uri="{BB962C8B-B14F-4D97-AF65-F5344CB8AC3E}">
        <p14:creationId xmlns:p14="http://schemas.microsoft.com/office/powerpoint/2010/main" val="38088572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Agenda Two">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p:cNvGraphicFramePr>
          <p:nvPr userDrawn="1">
            <p:custDataLst>
              <p:tags r:id="rId1"/>
            </p:custDataLst>
            <p:extLst>
              <p:ext uri="{D42A27DB-BD31-4B8C-83A1-F6EECF244321}">
                <p14:modId xmlns:p14="http://schemas.microsoft.com/office/powerpoint/2010/main" val="4222552013"/>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0" y="0"/>
                        <a:ext cx="112252" cy="224510"/>
                      </a:xfrm>
                      <a:prstGeom prst="rect">
                        <a:avLst/>
                      </a:prstGeom>
                    </p:spPr>
                  </p:pic>
                </p:oleObj>
              </mc:Fallback>
            </mc:AlternateContent>
          </a:graphicData>
        </a:graphic>
      </p:graphicFrame>
      <p:sp>
        <p:nvSpPr>
          <p:cNvPr id="2" name="Title 1"/>
          <p:cNvSpPr>
            <a:spLocks noGrp="1"/>
          </p:cNvSpPr>
          <p:nvPr>
            <p:ph type="ctrTitle" hasCustomPrompt="1"/>
            <p:custDataLst>
              <p:tags r:id="rId2"/>
            </p:custDataLst>
          </p:nvPr>
        </p:nvSpPr>
        <p:spPr>
          <a:xfrm>
            <a:off x="684213" y="1817688"/>
            <a:ext cx="3855810" cy="369332"/>
          </a:xfrm>
          <a:prstGeom prst="rect">
            <a:avLst/>
          </a:prstGeom>
        </p:spPr>
        <p:txBody>
          <a:bodyPr wrap="square" anchor="t" anchorCtr="0">
            <a:spAutoFit/>
          </a:bodyPr>
          <a:lstStyle>
            <a:lvl1pPr algn="l">
              <a:defRPr>
                <a:solidFill>
                  <a:schemeClr val="accent1"/>
                </a:solidFill>
              </a:defRPr>
            </a:lvl1pPr>
          </a:lstStyle>
          <a:p>
            <a:r>
              <a:rPr lang="en-US" dirty="0"/>
              <a:t>Agenda</a:t>
            </a:r>
            <a:endParaRPr lang="en-GB" dirty="0"/>
          </a:p>
        </p:txBody>
      </p:sp>
      <p:sp>
        <p:nvSpPr>
          <p:cNvPr id="3" name="Subtitle 2"/>
          <p:cNvSpPr>
            <a:spLocks noGrp="1"/>
          </p:cNvSpPr>
          <p:nvPr>
            <p:ph type="subTitle" idx="1" hasCustomPrompt="1"/>
            <p:custDataLst>
              <p:tags r:id="rId3"/>
            </p:custDataLst>
          </p:nvPr>
        </p:nvSpPr>
        <p:spPr>
          <a:xfrm>
            <a:off x="684213" y="2363602"/>
            <a:ext cx="3855810" cy="483209"/>
          </a:xfrm>
          <a:prstGeom prst="rect">
            <a:avLst/>
          </a:prstGeom>
        </p:spPr>
        <p:txBody>
          <a:bodyPr/>
          <a:lstStyle>
            <a:lvl1pPr marL="0" marR="0" indent="0" algn="l" defTabSz="995690" rtl="0" eaLnBrk="1" fontAlgn="auto" latinLnBrk="0" hangingPunct="1">
              <a:lnSpc>
                <a:spcPct val="110000"/>
              </a:lnSpc>
              <a:spcBef>
                <a:spcPts val="0"/>
              </a:spcBef>
              <a:spcAft>
                <a:spcPts val="600"/>
              </a:spcAft>
              <a:buClrTx/>
              <a:buSzTx/>
              <a:buFont typeface="Arial" panose="020B0604020202020204" pitchFamily="34" charset="0"/>
              <a:buNone/>
              <a:tabLst/>
              <a:defRPr sz="1200" b="0" baseline="0">
                <a:solidFill>
                  <a:schemeClr val="tx1"/>
                </a:solidFill>
                <a:latin typeface="+mn-lt"/>
              </a:defRPr>
            </a:lvl1pPr>
            <a:lvl2pPr marL="177800" indent="-177800" algn="l">
              <a:buFont typeface="Arial" panose="020B0604020202020204" pitchFamily="34" charset="0"/>
              <a:buChar char="•"/>
              <a:defRPr sz="1200">
                <a:solidFill>
                  <a:schemeClr val="tx1"/>
                </a:solidFill>
                <a:latin typeface="+mn-lt"/>
              </a:defRPr>
            </a:lvl2pPr>
            <a:lvl3pPr marL="995690" indent="0" algn="ctr">
              <a:buNone/>
              <a:defRPr>
                <a:solidFill>
                  <a:schemeClr val="tx1">
                    <a:tint val="75000"/>
                  </a:schemeClr>
                </a:solidFill>
              </a:defRPr>
            </a:lvl3pPr>
            <a:lvl4pPr marL="1493535" indent="0" algn="ctr">
              <a:buNone/>
              <a:defRPr>
                <a:solidFill>
                  <a:schemeClr val="tx1">
                    <a:tint val="75000"/>
                  </a:schemeClr>
                </a:solidFill>
              </a:defRPr>
            </a:lvl4pPr>
            <a:lvl5pPr marL="1991380" indent="0" algn="ctr">
              <a:buNone/>
              <a:defRPr>
                <a:solidFill>
                  <a:schemeClr val="tx1">
                    <a:tint val="75000"/>
                  </a:schemeClr>
                </a:solidFill>
              </a:defRPr>
            </a:lvl5pPr>
            <a:lvl6pPr marL="2489225" indent="0" algn="ctr">
              <a:buNone/>
              <a:defRPr>
                <a:solidFill>
                  <a:schemeClr val="tx1">
                    <a:tint val="75000"/>
                  </a:schemeClr>
                </a:solidFill>
              </a:defRPr>
            </a:lvl6pPr>
            <a:lvl7pPr marL="2987070" indent="0" algn="ctr">
              <a:buNone/>
              <a:defRPr>
                <a:solidFill>
                  <a:schemeClr val="tx1">
                    <a:tint val="75000"/>
                  </a:schemeClr>
                </a:solidFill>
              </a:defRPr>
            </a:lvl7pPr>
            <a:lvl8pPr marL="3484916" indent="0" algn="ctr">
              <a:buNone/>
              <a:defRPr>
                <a:solidFill>
                  <a:schemeClr val="tx1">
                    <a:tint val="75000"/>
                  </a:schemeClr>
                </a:solidFill>
              </a:defRPr>
            </a:lvl8pPr>
            <a:lvl9pPr marL="3982761" indent="0" algn="ctr">
              <a:buNone/>
              <a:defRPr>
                <a:solidFill>
                  <a:schemeClr val="tx1">
                    <a:tint val="75000"/>
                  </a:schemeClr>
                </a:solidFill>
              </a:defRPr>
            </a:lvl9pPr>
          </a:lstStyle>
          <a:p>
            <a:r>
              <a:rPr lang="en-US" dirty="0"/>
              <a:t>Contents list</a:t>
            </a:r>
          </a:p>
          <a:p>
            <a:pPr lvl="1"/>
            <a:r>
              <a:rPr lang="en-US" dirty="0"/>
              <a:t>Bullet 1</a:t>
            </a:r>
          </a:p>
        </p:txBody>
      </p:sp>
      <p:sp>
        <p:nvSpPr>
          <p:cNvPr id="11" name="Picture Placeholder 18"/>
          <p:cNvSpPr>
            <a:spLocks noGrp="1"/>
          </p:cNvSpPr>
          <p:nvPr>
            <p:ph type="pic" sz="quarter" idx="12" hasCustomPrompt="1"/>
          </p:nvPr>
        </p:nvSpPr>
        <p:spPr>
          <a:xfrm>
            <a:off x="949325" y="6402387"/>
            <a:ext cx="6621350" cy="4291014"/>
          </a:xfrm>
          <a:custGeom>
            <a:avLst/>
            <a:gdLst>
              <a:gd name="connsiteX0" fmla="*/ 3994306 w 6600646"/>
              <a:gd name="connsiteY0" fmla="*/ 0 h 7578726"/>
              <a:gd name="connsiteX1" fmla="*/ 6600646 w 6600646"/>
              <a:gd name="connsiteY1" fmla="*/ 0 h 7578726"/>
              <a:gd name="connsiteX2" fmla="*/ 6600646 w 6600646"/>
              <a:gd name="connsiteY2" fmla="*/ 7578726 h 7578726"/>
              <a:gd name="connsiteX3" fmla="*/ 0 w 6600646"/>
              <a:gd name="connsiteY3" fmla="*/ 7578726 h 7578726"/>
              <a:gd name="connsiteX0" fmla="*/ 3994306 w 6600646"/>
              <a:gd name="connsiteY0" fmla="*/ 0 h 7578726"/>
              <a:gd name="connsiteX1" fmla="*/ 3952696 w 6600646"/>
              <a:gd name="connsiteY1" fmla="*/ 38100 h 7578726"/>
              <a:gd name="connsiteX2" fmla="*/ 6600646 w 6600646"/>
              <a:gd name="connsiteY2" fmla="*/ 7578726 h 7578726"/>
              <a:gd name="connsiteX3" fmla="*/ 0 w 6600646"/>
              <a:gd name="connsiteY3" fmla="*/ 7578726 h 7578726"/>
              <a:gd name="connsiteX4" fmla="*/ 3994306 w 6600646"/>
              <a:gd name="connsiteY4" fmla="*/ 0 h 7578726"/>
              <a:gd name="connsiteX0" fmla="*/ 3994306 w 3994306"/>
              <a:gd name="connsiteY0" fmla="*/ 0 h 7607301"/>
              <a:gd name="connsiteX1" fmla="*/ 3952696 w 3994306"/>
              <a:gd name="connsiteY1" fmla="*/ 38100 h 7607301"/>
              <a:gd name="connsiteX2" fmla="*/ 3952696 w 3994306"/>
              <a:gd name="connsiteY2" fmla="*/ 7607301 h 7607301"/>
              <a:gd name="connsiteX3" fmla="*/ 0 w 3994306"/>
              <a:gd name="connsiteY3" fmla="*/ 7578726 h 7607301"/>
              <a:gd name="connsiteX4" fmla="*/ 3994306 w 3994306"/>
              <a:gd name="connsiteY4" fmla="*/ 0 h 7607301"/>
              <a:gd name="connsiteX0" fmla="*/ 3953031 w 3953031"/>
              <a:gd name="connsiteY0" fmla="*/ 0 h 7581901"/>
              <a:gd name="connsiteX1" fmla="*/ 3952696 w 3953031"/>
              <a:gd name="connsiteY1" fmla="*/ 12700 h 7581901"/>
              <a:gd name="connsiteX2" fmla="*/ 3952696 w 3953031"/>
              <a:gd name="connsiteY2" fmla="*/ 7581901 h 7581901"/>
              <a:gd name="connsiteX3" fmla="*/ 0 w 3953031"/>
              <a:gd name="connsiteY3" fmla="*/ 7553326 h 7581901"/>
              <a:gd name="connsiteX4" fmla="*/ 3953031 w 3953031"/>
              <a:gd name="connsiteY4" fmla="*/ 0 h 7581901"/>
              <a:gd name="connsiteX0" fmla="*/ 3953031 w 3953031"/>
              <a:gd name="connsiteY0" fmla="*/ 0 h 7600951"/>
              <a:gd name="connsiteX1" fmla="*/ 3952696 w 3953031"/>
              <a:gd name="connsiteY1" fmla="*/ 31750 h 7600951"/>
              <a:gd name="connsiteX2" fmla="*/ 3952696 w 3953031"/>
              <a:gd name="connsiteY2" fmla="*/ 7600951 h 7600951"/>
              <a:gd name="connsiteX3" fmla="*/ 0 w 3953031"/>
              <a:gd name="connsiteY3" fmla="*/ 7572376 h 7600951"/>
              <a:gd name="connsiteX4" fmla="*/ 3953031 w 3953031"/>
              <a:gd name="connsiteY4"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0 w 3987956"/>
              <a:gd name="connsiteY3" fmla="*/ 7572376 h 7600951"/>
              <a:gd name="connsiteX4" fmla="*/ 3987956 w 3987956"/>
              <a:gd name="connsiteY4"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0 w 3987956"/>
              <a:gd name="connsiteY3" fmla="*/ 7572376 h 7600951"/>
              <a:gd name="connsiteX4" fmla="*/ 3921657 w 3987956"/>
              <a:gd name="connsiteY4" fmla="*/ 127762 h 7600951"/>
              <a:gd name="connsiteX5" fmla="*/ 3987956 w 3987956"/>
              <a:gd name="connsiteY5"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3921657 w 3987956"/>
              <a:gd name="connsiteY3" fmla="*/ 7596950 h 7600951"/>
              <a:gd name="connsiteX4" fmla="*/ 0 w 3987956"/>
              <a:gd name="connsiteY4" fmla="*/ 7572376 h 7600951"/>
              <a:gd name="connsiteX5" fmla="*/ 3921657 w 3987956"/>
              <a:gd name="connsiteY5" fmla="*/ 127762 h 7600951"/>
              <a:gd name="connsiteX6" fmla="*/ 3987956 w 3987956"/>
              <a:gd name="connsiteY6"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3921657 w 3987956"/>
              <a:gd name="connsiteY3" fmla="*/ 7596950 h 7600951"/>
              <a:gd name="connsiteX4" fmla="*/ 0 w 3987956"/>
              <a:gd name="connsiteY4" fmla="*/ 7572376 h 7600951"/>
              <a:gd name="connsiteX5" fmla="*/ 3921657 w 3987956"/>
              <a:gd name="connsiteY5" fmla="*/ 127762 h 7600951"/>
              <a:gd name="connsiteX6" fmla="*/ 3987956 w 3987956"/>
              <a:gd name="connsiteY6" fmla="*/ 0 h 7600951"/>
              <a:gd name="connsiteX0" fmla="*/ 3987956 w 3987956"/>
              <a:gd name="connsiteY0" fmla="*/ 0 h 7596950"/>
              <a:gd name="connsiteX1" fmla="*/ 3987621 w 3987956"/>
              <a:gd name="connsiteY1" fmla="*/ 31750 h 7596950"/>
              <a:gd name="connsiteX2" fmla="*/ 3921657 w 3987956"/>
              <a:gd name="connsiteY2" fmla="*/ 7596950 h 7596950"/>
              <a:gd name="connsiteX3" fmla="*/ 0 w 3987956"/>
              <a:gd name="connsiteY3" fmla="*/ 7572376 h 7596950"/>
              <a:gd name="connsiteX4" fmla="*/ 3921657 w 3987956"/>
              <a:gd name="connsiteY4" fmla="*/ 127762 h 7596950"/>
              <a:gd name="connsiteX5" fmla="*/ 3987956 w 3987956"/>
              <a:gd name="connsiteY5" fmla="*/ 0 h 7596950"/>
              <a:gd name="connsiteX0" fmla="*/ 3921657 w 3987621"/>
              <a:gd name="connsiteY0" fmla="*/ 96012 h 7565200"/>
              <a:gd name="connsiteX1" fmla="*/ 3987621 w 3987621"/>
              <a:gd name="connsiteY1" fmla="*/ 0 h 7565200"/>
              <a:gd name="connsiteX2" fmla="*/ 3921657 w 3987621"/>
              <a:gd name="connsiteY2" fmla="*/ 7565200 h 7565200"/>
              <a:gd name="connsiteX3" fmla="*/ 0 w 3987621"/>
              <a:gd name="connsiteY3" fmla="*/ 7540626 h 7565200"/>
              <a:gd name="connsiteX4" fmla="*/ 3921657 w 3987621"/>
              <a:gd name="connsiteY4" fmla="*/ 96012 h 7565200"/>
              <a:gd name="connsiteX0" fmla="*/ 3921657 w 3921657"/>
              <a:gd name="connsiteY0" fmla="*/ 0 h 7469188"/>
              <a:gd name="connsiteX1" fmla="*/ 3921657 w 3921657"/>
              <a:gd name="connsiteY1" fmla="*/ 7469188 h 7469188"/>
              <a:gd name="connsiteX2" fmla="*/ 0 w 3921657"/>
              <a:gd name="connsiteY2" fmla="*/ 7444614 h 7469188"/>
              <a:gd name="connsiteX3" fmla="*/ 3921657 w 3921657"/>
              <a:gd name="connsiteY3" fmla="*/ 0 h 7469188"/>
              <a:gd name="connsiteX0" fmla="*/ 3945470 w 3945470"/>
              <a:gd name="connsiteY0" fmla="*/ 0 h 7473189"/>
              <a:gd name="connsiteX1" fmla="*/ 3945470 w 3945470"/>
              <a:gd name="connsiteY1" fmla="*/ 7469188 h 7473189"/>
              <a:gd name="connsiteX2" fmla="*/ 0 w 3945470"/>
              <a:gd name="connsiteY2" fmla="*/ 7473189 h 7473189"/>
              <a:gd name="connsiteX3" fmla="*/ 3945470 w 3945470"/>
              <a:gd name="connsiteY3" fmla="*/ 0 h 7473189"/>
              <a:gd name="connsiteX0" fmla="*/ 3945470 w 5550433"/>
              <a:gd name="connsiteY0" fmla="*/ 0 h 7473950"/>
              <a:gd name="connsiteX1" fmla="*/ 5550433 w 5550433"/>
              <a:gd name="connsiteY1" fmla="*/ 7473950 h 7473950"/>
              <a:gd name="connsiteX2" fmla="*/ 0 w 5550433"/>
              <a:gd name="connsiteY2" fmla="*/ 7473189 h 7473950"/>
              <a:gd name="connsiteX3" fmla="*/ 3945470 w 5550433"/>
              <a:gd name="connsiteY3" fmla="*/ 0 h 7473950"/>
              <a:gd name="connsiteX0" fmla="*/ 3974045 w 5550433"/>
              <a:gd name="connsiteY0" fmla="*/ 0 h 7554913"/>
              <a:gd name="connsiteX1" fmla="*/ 5550433 w 5550433"/>
              <a:gd name="connsiteY1" fmla="*/ 7554913 h 7554913"/>
              <a:gd name="connsiteX2" fmla="*/ 0 w 5550433"/>
              <a:gd name="connsiteY2" fmla="*/ 7554152 h 7554913"/>
              <a:gd name="connsiteX3" fmla="*/ 3974045 w 5550433"/>
              <a:gd name="connsiteY3" fmla="*/ 0 h 7554913"/>
              <a:gd name="connsiteX0" fmla="*/ 3974045 w 5550433"/>
              <a:gd name="connsiteY0" fmla="*/ 0 h 7554913"/>
              <a:gd name="connsiteX1" fmla="*/ 4112754 w 5550433"/>
              <a:gd name="connsiteY1" fmla="*/ 646113 h 7554913"/>
              <a:gd name="connsiteX2" fmla="*/ 5550433 w 5550433"/>
              <a:gd name="connsiteY2" fmla="*/ 7554913 h 7554913"/>
              <a:gd name="connsiteX3" fmla="*/ 0 w 5550433"/>
              <a:gd name="connsiteY3" fmla="*/ 7554152 h 7554913"/>
              <a:gd name="connsiteX4" fmla="*/ 3974045 w 5550433"/>
              <a:gd name="connsiteY4" fmla="*/ 0 h 7554913"/>
              <a:gd name="connsiteX0" fmla="*/ 3974045 w 5550433"/>
              <a:gd name="connsiteY0" fmla="*/ 0 h 7554913"/>
              <a:gd name="connsiteX1" fmla="*/ 4112754 w 5550433"/>
              <a:gd name="connsiteY1" fmla="*/ 646113 h 7554913"/>
              <a:gd name="connsiteX2" fmla="*/ 5550433 w 5550433"/>
              <a:gd name="connsiteY2" fmla="*/ 7554913 h 7554913"/>
              <a:gd name="connsiteX3" fmla="*/ 0 w 5550433"/>
              <a:gd name="connsiteY3" fmla="*/ 7554152 h 7554913"/>
              <a:gd name="connsiteX4" fmla="*/ 3974045 w 5550433"/>
              <a:gd name="connsiteY4" fmla="*/ 0 h 7554913"/>
              <a:gd name="connsiteX0" fmla="*/ 3974045 w 5551029"/>
              <a:gd name="connsiteY0" fmla="*/ 15875 h 7570788"/>
              <a:gd name="connsiteX1" fmla="*/ 5551029 w 5551029"/>
              <a:gd name="connsiteY1" fmla="*/ 0 h 7570788"/>
              <a:gd name="connsiteX2" fmla="*/ 5550433 w 5551029"/>
              <a:gd name="connsiteY2" fmla="*/ 7570788 h 7570788"/>
              <a:gd name="connsiteX3" fmla="*/ 0 w 5551029"/>
              <a:gd name="connsiteY3" fmla="*/ 7570027 h 7570788"/>
              <a:gd name="connsiteX4" fmla="*/ 3974045 w 5551029"/>
              <a:gd name="connsiteY4" fmla="*/ 15875 h 7570788"/>
              <a:gd name="connsiteX0" fmla="*/ 3974045 w 5550434"/>
              <a:gd name="connsiteY0" fmla="*/ 15875 h 7570788"/>
              <a:gd name="connsiteX1" fmla="*/ 5525629 w 5550434"/>
              <a:gd name="connsiteY1" fmla="*/ 0 h 7570788"/>
              <a:gd name="connsiteX2" fmla="*/ 5550433 w 5550434"/>
              <a:gd name="connsiteY2" fmla="*/ 7570788 h 7570788"/>
              <a:gd name="connsiteX3" fmla="*/ 0 w 5550434"/>
              <a:gd name="connsiteY3" fmla="*/ 7570027 h 7570788"/>
              <a:gd name="connsiteX4" fmla="*/ 3974045 w 5550434"/>
              <a:gd name="connsiteY4" fmla="*/ 15875 h 7570788"/>
              <a:gd name="connsiteX0" fmla="*/ 3980395 w 5550434"/>
              <a:gd name="connsiteY0" fmla="*/ 3175 h 7570788"/>
              <a:gd name="connsiteX1" fmla="*/ 5525629 w 5550434"/>
              <a:gd name="connsiteY1" fmla="*/ 0 h 7570788"/>
              <a:gd name="connsiteX2" fmla="*/ 5550433 w 5550434"/>
              <a:gd name="connsiteY2" fmla="*/ 7570788 h 7570788"/>
              <a:gd name="connsiteX3" fmla="*/ 0 w 5550434"/>
              <a:gd name="connsiteY3" fmla="*/ 7570027 h 7570788"/>
              <a:gd name="connsiteX4" fmla="*/ 3980395 w 5550434"/>
              <a:gd name="connsiteY4" fmla="*/ 3175 h 7570788"/>
              <a:gd name="connsiteX0" fmla="*/ 3980395 w 5525629"/>
              <a:gd name="connsiteY0" fmla="*/ 3175 h 7570788"/>
              <a:gd name="connsiteX1" fmla="*/ 5525629 w 5525629"/>
              <a:gd name="connsiteY1" fmla="*/ 0 h 7570788"/>
              <a:gd name="connsiteX2" fmla="*/ 5525033 w 5525629"/>
              <a:gd name="connsiteY2" fmla="*/ 7570788 h 7570788"/>
              <a:gd name="connsiteX3" fmla="*/ 0 w 5525629"/>
              <a:gd name="connsiteY3" fmla="*/ 7570027 h 7570788"/>
              <a:gd name="connsiteX4" fmla="*/ 3980395 w 5525629"/>
              <a:gd name="connsiteY4" fmla="*/ 3175 h 7570788"/>
              <a:gd name="connsiteX0" fmla="*/ 3980395 w 5525629"/>
              <a:gd name="connsiteY0" fmla="*/ 3175 h 7570788"/>
              <a:gd name="connsiteX1" fmla="*/ 5525629 w 5525629"/>
              <a:gd name="connsiteY1" fmla="*/ 0 h 7570788"/>
              <a:gd name="connsiteX2" fmla="*/ 5525033 w 5525629"/>
              <a:gd name="connsiteY2" fmla="*/ 7570788 h 7570788"/>
              <a:gd name="connsiteX3" fmla="*/ 0 w 5525629"/>
              <a:gd name="connsiteY3" fmla="*/ 7570027 h 7570788"/>
              <a:gd name="connsiteX4" fmla="*/ 3980395 w 5525629"/>
              <a:gd name="connsiteY4" fmla="*/ 3175 h 7570788"/>
              <a:gd name="connsiteX0" fmla="*/ 3980395 w 5525035"/>
              <a:gd name="connsiteY0" fmla="*/ 3175 h 7570788"/>
              <a:gd name="connsiteX1" fmla="*/ 5512929 w 5525035"/>
              <a:gd name="connsiteY1" fmla="*/ 0 h 7570788"/>
              <a:gd name="connsiteX2" fmla="*/ 5525033 w 5525035"/>
              <a:gd name="connsiteY2" fmla="*/ 7570788 h 7570788"/>
              <a:gd name="connsiteX3" fmla="*/ 0 w 5525035"/>
              <a:gd name="connsiteY3" fmla="*/ 7570027 h 7570788"/>
              <a:gd name="connsiteX4" fmla="*/ 3980395 w 5525035"/>
              <a:gd name="connsiteY4" fmla="*/ 3175 h 7570788"/>
              <a:gd name="connsiteX0" fmla="*/ 3980395 w 5525035"/>
              <a:gd name="connsiteY0" fmla="*/ 3175 h 7570788"/>
              <a:gd name="connsiteX1" fmla="*/ 5512929 w 5525035"/>
              <a:gd name="connsiteY1" fmla="*/ 0 h 7570788"/>
              <a:gd name="connsiteX2" fmla="*/ 5525033 w 5525035"/>
              <a:gd name="connsiteY2" fmla="*/ 7570788 h 7570788"/>
              <a:gd name="connsiteX3" fmla="*/ 0 w 5525035"/>
              <a:gd name="connsiteY3" fmla="*/ 7570027 h 7570788"/>
              <a:gd name="connsiteX4" fmla="*/ 2705563 w 5525035"/>
              <a:gd name="connsiteY4" fmla="*/ 2422525 h 7570788"/>
              <a:gd name="connsiteX5" fmla="*/ 3980395 w 5525035"/>
              <a:gd name="connsiteY5" fmla="*/ 3175 h 7570788"/>
              <a:gd name="connsiteX0" fmla="*/ 3980395 w 5931555"/>
              <a:gd name="connsiteY0" fmla="*/ 317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6" fmla="*/ 3980395 w 5931555"/>
              <a:gd name="connsiteY6" fmla="*/ 3175 h 7570788"/>
              <a:gd name="connsiteX0" fmla="*/ 3980395 w 5931555"/>
              <a:gd name="connsiteY0" fmla="*/ 317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6" fmla="*/ 3980395 w 5931555"/>
              <a:gd name="connsiteY6" fmla="*/ 3175 h 7570788"/>
              <a:gd name="connsiteX0" fmla="*/ 2705563 w 5931555"/>
              <a:gd name="connsiteY0" fmla="*/ 242252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0" fmla="*/ 2705563 w 5931555"/>
              <a:gd name="connsiteY0" fmla="*/ 4762 h 5153025"/>
              <a:gd name="connsiteX1" fmla="*/ 5515438 w 5931555"/>
              <a:gd name="connsiteY1" fmla="*/ 0 h 5153025"/>
              <a:gd name="connsiteX2" fmla="*/ 5525033 w 5931555"/>
              <a:gd name="connsiteY2" fmla="*/ 5153025 h 5153025"/>
              <a:gd name="connsiteX3" fmla="*/ 0 w 5931555"/>
              <a:gd name="connsiteY3" fmla="*/ 5152264 h 5153025"/>
              <a:gd name="connsiteX4" fmla="*/ 2705563 w 5931555"/>
              <a:gd name="connsiteY4" fmla="*/ 4762 h 5153025"/>
              <a:gd name="connsiteX0" fmla="*/ 2705563 w 5932168"/>
              <a:gd name="connsiteY0" fmla="*/ 4762 h 5153025"/>
              <a:gd name="connsiteX1" fmla="*/ 5515438 w 5932168"/>
              <a:gd name="connsiteY1" fmla="*/ 0 h 5153025"/>
              <a:gd name="connsiteX2" fmla="*/ 5525033 w 5932168"/>
              <a:gd name="connsiteY2" fmla="*/ 5153025 h 5153025"/>
              <a:gd name="connsiteX3" fmla="*/ 0 w 5932168"/>
              <a:gd name="connsiteY3" fmla="*/ 5152264 h 5153025"/>
              <a:gd name="connsiteX4" fmla="*/ 2705563 w 5932168"/>
              <a:gd name="connsiteY4" fmla="*/ 4762 h 5153025"/>
              <a:gd name="connsiteX0" fmla="*/ 2705563 w 5525033"/>
              <a:gd name="connsiteY0" fmla="*/ 4762 h 5153025"/>
              <a:gd name="connsiteX1" fmla="*/ 5515438 w 5525033"/>
              <a:gd name="connsiteY1" fmla="*/ 0 h 5153025"/>
              <a:gd name="connsiteX2" fmla="*/ 5525033 w 5525033"/>
              <a:gd name="connsiteY2" fmla="*/ 5153025 h 5153025"/>
              <a:gd name="connsiteX3" fmla="*/ 0 w 5525033"/>
              <a:gd name="connsiteY3" fmla="*/ 5152264 h 5153025"/>
              <a:gd name="connsiteX4" fmla="*/ 2705563 w 5525033"/>
              <a:gd name="connsiteY4" fmla="*/ 4762 h 5153025"/>
              <a:gd name="connsiteX0" fmla="*/ 2700800 w 5525033"/>
              <a:gd name="connsiteY0" fmla="*/ 9524 h 5153025"/>
              <a:gd name="connsiteX1" fmla="*/ 5515438 w 5525033"/>
              <a:gd name="connsiteY1" fmla="*/ 0 h 5153025"/>
              <a:gd name="connsiteX2" fmla="*/ 5525033 w 5525033"/>
              <a:gd name="connsiteY2" fmla="*/ 5153025 h 5153025"/>
              <a:gd name="connsiteX3" fmla="*/ 0 w 5525033"/>
              <a:gd name="connsiteY3" fmla="*/ 5152264 h 5153025"/>
              <a:gd name="connsiteX4" fmla="*/ 2700800 w 5525033"/>
              <a:gd name="connsiteY4" fmla="*/ 9524 h 5153025"/>
              <a:gd name="connsiteX0" fmla="*/ 2700800 w 5525033"/>
              <a:gd name="connsiteY0" fmla="*/ 4762 h 5148263"/>
              <a:gd name="connsiteX1" fmla="*/ 3991438 w 5525033"/>
              <a:gd name="connsiteY1" fmla="*/ 0 h 5148263"/>
              <a:gd name="connsiteX2" fmla="*/ 5525033 w 5525033"/>
              <a:gd name="connsiteY2" fmla="*/ 5148263 h 5148263"/>
              <a:gd name="connsiteX3" fmla="*/ 0 w 5525033"/>
              <a:gd name="connsiteY3" fmla="*/ 5147502 h 5148263"/>
              <a:gd name="connsiteX4" fmla="*/ 2700800 w 5525033"/>
              <a:gd name="connsiteY4" fmla="*/ 4762 h 5148263"/>
              <a:gd name="connsiteX0" fmla="*/ 2700800 w 5525033"/>
              <a:gd name="connsiteY0" fmla="*/ 4762 h 5148263"/>
              <a:gd name="connsiteX1" fmla="*/ 3991438 w 5525033"/>
              <a:gd name="connsiteY1" fmla="*/ 0 h 5148263"/>
              <a:gd name="connsiteX2" fmla="*/ 5525033 w 5525033"/>
              <a:gd name="connsiteY2" fmla="*/ 5148263 h 5148263"/>
              <a:gd name="connsiteX3" fmla="*/ 0 w 5525033"/>
              <a:gd name="connsiteY3" fmla="*/ 5147502 h 5148263"/>
              <a:gd name="connsiteX4" fmla="*/ 2700800 w 5525033"/>
              <a:gd name="connsiteY4" fmla="*/ 4762 h 5148263"/>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76373 w 3996271"/>
              <a:gd name="connsiteY4" fmla="*/ 5000447 h 5147502"/>
              <a:gd name="connsiteX5" fmla="*/ 2700800 w 3996271"/>
              <a:gd name="connsiteY5" fmla="*/ 4762 h 5147502"/>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3995704"/>
              <a:gd name="connsiteY0" fmla="*/ 4762 h 5416736"/>
              <a:gd name="connsiteX1" fmla="*/ 3991438 w 3995704"/>
              <a:gd name="connsiteY1" fmla="*/ 0 h 5416736"/>
              <a:gd name="connsiteX2" fmla="*/ 3995704 w 3995704"/>
              <a:gd name="connsiteY2" fmla="*/ 4990423 h 5416736"/>
              <a:gd name="connsiteX3" fmla="*/ 0 w 3995704"/>
              <a:gd name="connsiteY3" fmla="*/ 5147502 h 5416736"/>
              <a:gd name="connsiteX4" fmla="*/ 76373 w 3995704"/>
              <a:gd name="connsiteY4" fmla="*/ 5000447 h 5416736"/>
              <a:gd name="connsiteX5" fmla="*/ 2700800 w 3995704"/>
              <a:gd name="connsiteY5" fmla="*/ 4762 h 5416736"/>
              <a:gd name="connsiteX0" fmla="*/ 2624427 w 3919331"/>
              <a:gd name="connsiteY0" fmla="*/ 4762 h 5619584"/>
              <a:gd name="connsiteX1" fmla="*/ 3915065 w 3919331"/>
              <a:gd name="connsiteY1" fmla="*/ 0 h 5619584"/>
              <a:gd name="connsiteX2" fmla="*/ 3919331 w 3919331"/>
              <a:gd name="connsiteY2" fmla="*/ 4990423 h 5619584"/>
              <a:gd name="connsiteX3" fmla="*/ 0 w 3919331"/>
              <a:gd name="connsiteY3" fmla="*/ 5000447 h 5619584"/>
              <a:gd name="connsiteX4" fmla="*/ 2624427 w 3919331"/>
              <a:gd name="connsiteY4" fmla="*/ 4762 h 5619584"/>
              <a:gd name="connsiteX0" fmla="*/ 2624427 w 3919331"/>
              <a:gd name="connsiteY0" fmla="*/ 4762 h 5362318"/>
              <a:gd name="connsiteX1" fmla="*/ 3915065 w 3919331"/>
              <a:gd name="connsiteY1" fmla="*/ 0 h 5362318"/>
              <a:gd name="connsiteX2" fmla="*/ 3919331 w 3919331"/>
              <a:gd name="connsiteY2" fmla="*/ 4990423 h 5362318"/>
              <a:gd name="connsiteX3" fmla="*/ 0 w 3919331"/>
              <a:gd name="connsiteY3" fmla="*/ 5000447 h 5362318"/>
              <a:gd name="connsiteX4" fmla="*/ 2624427 w 3919331"/>
              <a:gd name="connsiteY4" fmla="*/ 4762 h 5362318"/>
              <a:gd name="connsiteX0" fmla="*/ 2624427 w 3919331"/>
              <a:gd name="connsiteY0" fmla="*/ 4762 h 5000447"/>
              <a:gd name="connsiteX1" fmla="*/ 3915065 w 3919331"/>
              <a:gd name="connsiteY1" fmla="*/ 0 h 5000447"/>
              <a:gd name="connsiteX2" fmla="*/ 3919331 w 3919331"/>
              <a:gd name="connsiteY2" fmla="*/ 4990423 h 5000447"/>
              <a:gd name="connsiteX3" fmla="*/ 0 w 3919331"/>
              <a:gd name="connsiteY3" fmla="*/ 5000447 h 5000447"/>
              <a:gd name="connsiteX4" fmla="*/ 2624427 w 3919331"/>
              <a:gd name="connsiteY4" fmla="*/ 4762 h 5000447"/>
              <a:gd name="connsiteX0" fmla="*/ 2678589 w 3919331"/>
              <a:gd name="connsiteY0" fmla="*/ 0 h 5080797"/>
              <a:gd name="connsiteX1" fmla="*/ 3915065 w 3919331"/>
              <a:gd name="connsiteY1" fmla="*/ 80350 h 5080797"/>
              <a:gd name="connsiteX2" fmla="*/ 3919331 w 3919331"/>
              <a:gd name="connsiteY2" fmla="*/ 5070773 h 5080797"/>
              <a:gd name="connsiteX3" fmla="*/ 0 w 3919331"/>
              <a:gd name="connsiteY3" fmla="*/ 5080797 h 5080797"/>
              <a:gd name="connsiteX4" fmla="*/ 2678589 w 3919331"/>
              <a:gd name="connsiteY4" fmla="*/ 0 h 5080797"/>
              <a:gd name="connsiteX0" fmla="*/ 2678589 w 3922803"/>
              <a:gd name="connsiteY0" fmla="*/ 893 h 5081690"/>
              <a:gd name="connsiteX1" fmla="*/ 3922803 w 3922803"/>
              <a:gd name="connsiteY1" fmla="*/ 0 h 5081690"/>
              <a:gd name="connsiteX2" fmla="*/ 3919331 w 3922803"/>
              <a:gd name="connsiteY2" fmla="*/ 5071666 h 5081690"/>
              <a:gd name="connsiteX3" fmla="*/ 0 w 3922803"/>
              <a:gd name="connsiteY3" fmla="*/ 5081690 h 5081690"/>
              <a:gd name="connsiteX4" fmla="*/ 2678589 w 3922803"/>
              <a:gd name="connsiteY4" fmla="*/ 893 h 5081690"/>
              <a:gd name="connsiteX0" fmla="*/ 2678589 w 3922803"/>
              <a:gd name="connsiteY0" fmla="*/ 10016 h 5090813"/>
              <a:gd name="connsiteX1" fmla="*/ 3791709 w 3922803"/>
              <a:gd name="connsiteY1" fmla="*/ 0 h 5090813"/>
              <a:gd name="connsiteX2" fmla="*/ 3922803 w 3922803"/>
              <a:gd name="connsiteY2" fmla="*/ 9123 h 5090813"/>
              <a:gd name="connsiteX3" fmla="*/ 3919331 w 3922803"/>
              <a:gd name="connsiteY3" fmla="*/ 5080789 h 5090813"/>
              <a:gd name="connsiteX4" fmla="*/ 0 w 3922803"/>
              <a:gd name="connsiteY4" fmla="*/ 5090813 h 5090813"/>
              <a:gd name="connsiteX5" fmla="*/ 2678589 w 3922803"/>
              <a:gd name="connsiteY5" fmla="*/ 10016 h 5090813"/>
              <a:gd name="connsiteX0" fmla="*/ 2678589 w 3922803"/>
              <a:gd name="connsiteY0" fmla="*/ 10016 h 5090813"/>
              <a:gd name="connsiteX1" fmla="*/ 3791709 w 3922803"/>
              <a:gd name="connsiteY1" fmla="*/ 0 h 5090813"/>
              <a:gd name="connsiteX2" fmla="*/ 3922803 w 3922803"/>
              <a:gd name="connsiteY2" fmla="*/ 9123 h 5090813"/>
              <a:gd name="connsiteX3" fmla="*/ 3919331 w 3922803"/>
              <a:gd name="connsiteY3" fmla="*/ 5080789 h 5090813"/>
              <a:gd name="connsiteX4" fmla="*/ 3791709 w 3922803"/>
              <a:gd name="connsiteY4" fmla="*/ 5076247 h 5090813"/>
              <a:gd name="connsiteX5" fmla="*/ 0 w 3922803"/>
              <a:gd name="connsiteY5" fmla="*/ 5090813 h 5090813"/>
              <a:gd name="connsiteX6" fmla="*/ 2678589 w 3922803"/>
              <a:gd name="connsiteY6" fmla="*/ 10016 h 5090813"/>
              <a:gd name="connsiteX0" fmla="*/ 2678589 w 4120653"/>
              <a:gd name="connsiteY0" fmla="*/ 10016 h 5090813"/>
              <a:gd name="connsiteX1" fmla="*/ 3791709 w 4120653"/>
              <a:gd name="connsiteY1" fmla="*/ 0 h 5090813"/>
              <a:gd name="connsiteX2" fmla="*/ 3922803 w 4120653"/>
              <a:gd name="connsiteY2" fmla="*/ 9123 h 5090813"/>
              <a:gd name="connsiteX3" fmla="*/ 3791709 w 4120653"/>
              <a:gd name="connsiteY3" fmla="*/ 5076247 h 5090813"/>
              <a:gd name="connsiteX4" fmla="*/ 0 w 4120653"/>
              <a:gd name="connsiteY4" fmla="*/ 5090813 h 5090813"/>
              <a:gd name="connsiteX5" fmla="*/ 2678589 w 4120653"/>
              <a:gd name="connsiteY5" fmla="*/ 10016 h 5090813"/>
              <a:gd name="connsiteX0" fmla="*/ 2678589 w 4111904"/>
              <a:gd name="connsiteY0" fmla="*/ 371665 h 5452462"/>
              <a:gd name="connsiteX1" fmla="*/ 3791709 w 4111904"/>
              <a:gd name="connsiteY1" fmla="*/ 361649 h 5452462"/>
              <a:gd name="connsiteX2" fmla="*/ 3922803 w 4111904"/>
              <a:gd name="connsiteY2" fmla="*/ 370772 h 5452462"/>
              <a:gd name="connsiteX3" fmla="*/ 3915520 w 4111904"/>
              <a:gd name="connsiteY3" fmla="*/ 376216 h 5452462"/>
              <a:gd name="connsiteX4" fmla="*/ 3791709 w 4111904"/>
              <a:gd name="connsiteY4" fmla="*/ 5437896 h 5452462"/>
              <a:gd name="connsiteX5" fmla="*/ 0 w 4111904"/>
              <a:gd name="connsiteY5" fmla="*/ 5452462 h 5452462"/>
              <a:gd name="connsiteX6" fmla="*/ 2678589 w 4111904"/>
              <a:gd name="connsiteY6" fmla="*/ 371665 h 5452462"/>
              <a:gd name="connsiteX0" fmla="*/ 2678589 w 4120653"/>
              <a:gd name="connsiteY0" fmla="*/ 10016 h 5090813"/>
              <a:gd name="connsiteX1" fmla="*/ 3791709 w 4120653"/>
              <a:gd name="connsiteY1" fmla="*/ 0 h 5090813"/>
              <a:gd name="connsiteX2" fmla="*/ 3922803 w 4120653"/>
              <a:gd name="connsiteY2" fmla="*/ 9123 h 5090813"/>
              <a:gd name="connsiteX3" fmla="*/ 3791709 w 4120653"/>
              <a:gd name="connsiteY3" fmla="*/ 5076247 h 5090813"/>
              <a:gd name="connsiteX4" fmla="*/ 0 w 4120653"/>
              <a:gd name="connsiteY4" fmla="*/ 5090813 h 5090813"/>
              <a:gd name="connsiteX5" fmla="*/ 2678589 w 4120653"/>
              <a:gd name="connsiteY5"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1292731 w 3791709"/>
              <a:gd name="connsiteY4" fmla="*/ 2638265 h 5090813"/>
              <a:gd name="connsiteX5" fmla="*/ 2678589 w 3791709"/>
              <a:gd name="connsiteY5" fmla="*/ 10016 h 5090813"/>
              <a:gd name="connsiteX0" fmla="*/ 2678589 w 3791709"/>
              <a:gd name="connsiteY0" fmla="*/ 10016 h 5090813"/>
              <a:gd name="connsiteX1" fmla="*/ 3791709 w 3791709"/>
              <a:gd name="connsiteY1" fmla="*/ 0 h 5090813"/>
              <a:gd name="connsiteX2" fmla="*/ 3790798 w 3791709"/>
              <a:gd name="connsiteY2" fmla="*/ 2638265 h 5090813"/>
              <a:gd name="connsiteX3" fmla="*/ 3791709 w 3791709"/>
              <a:gd name="connsiteY3" fmla="*/ 5076247 h 5090813"/>
              <a:gd name="connsiteX4" fmla="*/ 0 w 3791709"/>
              <a:gd name="connsiteY4" fmla="*/ 5090813 h 5090813"/>
              <a:gd name="connsiteX5" fmla="*/ 1292731 w 3791709"/>
              <a:gd name="connsiteY5" fmla="*/ 2638265 h 5090813"/>
              <a:gd name="connsiteX6" fmla="*/ 2678589 w 3791709"/>
              <a:gd name="connsiteY6" fmla="*/ 10016 h 5090813"/>
              <a:gd name="connsiteX0" fmla="*/ 1292731 w 3791709"/>
              <a:gd name="connsiteY0" fmla="*/ 2638265 h 5090813"/>
              <a:gd name="connsiteX1" fmla="*/ 3791709 w 3791709"/>
              <a:gd name="connsiteY1" fmla="*/ 0 h 5090813"/>
              <a:gd name="connsiteX2" fmla="*/ 3790798 w 3791709"/>
              <a:gd name="connsiteY2" fmla="*/ 2638265 h 5090813"/>
              <a:gd name="connsiteX3" fmla="*/ 3791709 w 3791709"/>
              <a:gd name="connsiteY3" fmla="*/ 5076247 h 5090813"/>
              <a:gd name="connsiteX4" fmla="*/ 0 w 3791709"/>
              <a:gd name="connsiteY4" fmla="*/ 5090813 h 5090813"/>
              <a:gd name="connsiteX5" fmla="*/ 1292731 w 3791709"/>
              <a:gd name="connsiteY5" fmla="*/ 2638265 h 5090813"/>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5350"/>
              <a:gd name="connsiteY0" fmla="*/ 0 h 2452548"/>
              <a:gd name="connsiteX1" fmla="*/ 3790798 w 3795350"/>
              <a:gd name="connsiteY1" fmla="*/ 0 h 2452548"/>
              <a:gd name="connsiteX2" fmla="*/ 3795350 w 3795350"/>
              <a:gd name="connsiteY2" fmla="*/ 2452548 h 2452548"/>
              <a:gd name="connsiteX3" fmla="*/ 0 w 3795350"/>
              <a:gd name="connsiteY3" fmla="*/ 2452548 h 2452548"/>
              <a:gd name="connsiteX4" fmla="*/ 1292731 w 3795350"/>
              <a:gd name="connsiteY4" fmla="*/ 0 h 2452548"/>
              <a:gd name="connsiteX0" fmla="*/ 1292731 w 3795350"/>
              <a:gd name="connsiteY0" fmla="*/ 0 h 2452548"/>
              <a:gd name="connsiteX1" fmla="*/ 3779910 w 3795350"/>
              <a:gd name="connsiteY1" fmla="*/ 0 h 2452548"/>
              <a:gd name="connsiteX2" fmla="*/ 3795350 w 3795350"/>
              <a:gd name="connsiteY2" fmla="*/ 2452548 h 2452548"/>
              <a:gd name="connsiteX3" fmla="*/ 0 w 3795350"/>
              <a:gd name="connsiteY3" fmla="*/ 2452548 h 2452548"/>
              <a:gd name="connsiteX4" fmla="*/ 1292731 w 3795350"/>
              <a:gd name="connsiteY4" fmla="*/ 0 h 2452548"/>
              <a:gd name="connsiteX0" fmla="*/ 1292731 w 3795350"/>
              <a:gd name="connsiteY0" fmla="*/ 0 h 2452548"/>
              <a:gd name="connsiteX1" fmla="*/ 3779910 w 3795350"/>
              <a:gd name="connsiteY1" fmla="*/ 0 h 2452548"/>
              <a:gd name="connsiteX2" fmla="*/ 3795350 w 3795350"/>
              <a:gd name="connsiteY2" fmla="*/ 2452548 h 2452548"/>
              <a:gd name="connsiteX3" fmla="*/ 0 w 3795350"/>
              <a:gd name="connsiteY3" fmla="*/ 2452548 h 2452548"/>
              <a:gd name="connsiteX4" fmla="*/ 1292731 w 3795350"/>
              <a:gd name="connsiteY4" fmla="*/ 0 h 2452548"/>
              <a:gd name="connsiteX0" fmla="*/ 1292731 w 3784982"/>
              <a:gd name="connsiteY0" fmla="*/ 0 h 2452548"/>
              <a:gd name="connsiteX1" fmla="*/ 3779910 w 3784982"/>
              <a:gd name="connsiteY1" fmla="*/ 0 h 2452548"/>
              <a:gd name="connsiteX2" fmla="*/ 3784462 w 3784982"/>
              <a:gd name="connsiteY2" fmla="*/ 2452548 h 2452548"/>
              <a:gd name="connsiteX3" fmla="*/ 0 w 3784982"/>
              <a:gd name="connsiteY3" fmla="*/ 2452548 h 2452548"/>
              <a:gd name="connsiteX4" fmla="*/ 1292731 w 3784982"/>
              <a:gd name="connsiteY4" fmla="*/ 0 h 2452548"/>
              <a:gd name="connsiteX0" fmla="*/ 1292731 w 3784462"/>
              <a:gd name="connsiteY0" fmla="*/ 0 h 2452548"/>
              <a:gd name="connsiteX1" fmla="*/ 3779910 w 3784462"/>
              <a:gd name="connsiteY1" fmla="*/ 0 h 2452548"/>
              <a:gd name="connsiteX2" fmla="*/ 3784462 w 3784462"/>
              <a:gd name="connsiteY2" fmla="*/ 2452548 h 2452548"/>
              <a:gd name="connsiteX3" fmla="*/ 0 w 3784462"/>
              <a:gd name="connsiteY3" fmla="*/ 2452548 h 2452548"/>
              <a:gd name="connsiteX4" fmla="*/ 1292731 w 3784462"/>
              <a:gd name="connsiteY4" fmla="*/ 0 h 2452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4462" h="2452548">
                <a:moveTo>
                  <a:pt x="1292731" y="0"/>
                </a:moveTo>
                <a:lnTo>
                  <a:pt x="3779910" y="0"/>
                </a:lnTo>
                <a:cubicBezTo>
                  <a:pt x="3787630" y="1226274"/>
                  <a:pt x="3782186" y="1226274"/>
                  <a:pt x="3784462" y="2452548"/>
                </a:cubicBezTo>
                <a:lnTo>
                  <a:pt x="0" y="2452548"/>
                </a:lnTo>
                <a:lnTo>
                  <a:pt x="1292731" y="0"/>
                </a:lnTo>
                <a:close/>
              </a:path>
            </a:pathLst>
          </a:custGeom>
          <a:solidFill>
            <a:schemeClr val="bg1">
              <a:lumMod val="95000"/>
            </a:schemeClr>
          </a:solidFill>
          <a:ln>
            <a:noFill/>
          </a:ln>
        </p:spPr>
        <p:txBody>
          <a:bodyPr wrap="square" anchor="ctr">
            <a:noAutofit/>
          </a:bodyPr>
          <a:lstStyle>
            <a:lvl1pPr algn="ctr">
              <a:defRPr>
                <a:solidFill>
                  <a:schemeClr val="tx1"/>
                </a:solidFill>
              </a:defRPr>
            </a:lvl1pPr>
          </a:lstStyle>
          <a:p>
            <a:r>
              <a:rPr lang="en-US" dirty="0"/>
              <a:t>Click icon to add picture0</a:t>
            </a:r>
            <a:endParaRPr lang="en-GB" dirty="0"/>
          </a:p>
        </p:txBody>
      </p:sp>
      <p:sp>
        <p:nvSpPr>
          <p:cNvPr id="13" name="Freeform 5"/>
          <p:cNvSpPr>
            <a:spLocks/>
          </p:cNvSpPr>
          <p:nvPr userDrawn="1"/>
        </p:nvSpPr>
        <p:spPr bwMode="auto">
          <a:xfrm>
            <a:off x="3287713" y="1828799"/>
            <a:ext cx="4273550" cy="4430713"/>
          </a:xfrm>
          <a:custGeom>
            <a:avLst/>
            <a:gdLst>
              <a:gd name="T0" fmla="*/ 2692 w 2692"/>
              <a:gd name="T1" fmla="*/ 2791 h 2791"/>
              <a:gd name="T2" fmla="*/ 2692 w 2692"/>
              <a:gd name="T3" fmla="*/ 0 h 2791"/>
              <a:gd name="T4" fmla="*/ 1469 w 2692"/>
              <a:gd name="T5" fmla="*/ 0 h 2791"/>
              <a:gd name="T6" fmla="*/ 0 w 2692"/>
              <a:gd name="T7" fmla="*/ 2791 h 2791"/>
              <a:gd name="T8" fmla="*/ 2692 w 2692"/>
              <a:gd name="T9" fmla="*/ 2791 h 2791"/>
            </a:gdLst>
            <a:ahLst/>
            <a:cxnLst>
              <a:cxn ang="0">
                <a:pos x="T0" y="T1"/>
              </a:cxn>
              <a:cxn ang="0">
                <a:pos x="T2" y="T3"/>
              </a:cxn>
              <a:cxn ang="0">
                <a:pos x="T4" y="T5"/>
              </a:cxn>
              <a:cxn ang="0">
                <a:pos x="T6" y="T7"/>
              </a:cxn>
              <a:cxn ang="0">
                <a:pos x="T8" y="T9"/>
              </a:cxn>
            </a:cxnLst>
            <a:rect l="0" t="0" r="r" b="b"/>
            <a:pathLst>
              <a:path w="2692" h="2791">
                <a:moveTo>
                  <a:pt x="2692" y="2791"/>
                </a:moveTo>
                <a:lnTo>
                  <a:pt x="2692" y="0"/>
                </a:lnTo>
                <a:lnTo>
                  <a:pt x="1469" y="0"/>
                </a:lnTo>
                <a:lnTo>
                  <a:pt x="0" y="2791"/>
                </a:lnTo>
                <a:lnTo>
                  <a:pt x="2692" y="2791"/>
                </a:lnTo>
                <a:close/>
              </a:path>
            </a:pathLst>
          </a:custGeom>
          <a:solidFill>
            <a:srgbClr val="E30C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16919" y="553713"/>
            <a:ext cx="2165429" cy="595779"/>
          </a:xfrm>
          <a:prstGeom prst="rect">
            <a:avLst/>
          </a:prstGeom>
        </p:spPr>
      </p:pic>
    </p:spTree>
    <p:extLst>
      <p:ext uri="{BB962C8B-B14F-4D97-AF65-F5344CB8AC3E}">
        <p14:creationId xmlns:p14="http://schemas.microsoft.com/office/powerpoint/2010/main" val="37797847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One">
    <p:bg>
      <p:bgPr>
        <a:solidFill>
          <a:schemeClr val="bg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custDataLst>
              <p:tags r:id="rId1"/>
            </p:custDataLst>
          </p:nvPr>
        </p:nvPicPr>
        <p:blipFill rotWithShape="1">
          <a:blip r:embed="rId6">
            <a:extLst>
              <a:ext uri="{28A0092B-C50C-407E-A947-70E740481C1C}">
                <a14:useLocalDpi xmlns:a14="http://schemas.microsoft.com/office/drawing/2010/main" val="0"/>
              </a:ext>
            </a:extLst>
          </a:blip>
          <a:srcRect l="32181" t="1188" r="-12710" b="118"/>
          <a:stretch/>
        </p:blipFill>
        <p:spPr>
          <a:xfrm>
            <a:off x="925" y="1835150"/>
            <a:ext cx="7556898" cy="8855076"/>
          </a:xfrm>
          <a:prstGeom prst="rect">
            <a:avLst/>
          </a:prstGeom>
          <a:noFill/>
          <a:ln>
            <a:noFill/>
          </a:ln>
        </p:spPr>
      </p:pic>
      <p:sp>
        <p:nvSpPr>
          <p:cNvPr id="12" name="Freeform 278"/>
          <p:cNvSpPr>
            <a:spLocks/>
          </p:cNvSpPr>
          <p:nvPr userDrawn="1"/>
        </p:nvSpPr>
        <p:spPr bwMode="auto">
          <a:xfrm>
            <a:off x="252413" y="1835150"/>
            <a:ext cx="7308850" cy="8858251"/>
          </a:xfrm>
          <a:custGeom>
            <a:avLst/>
            <a:gdLst>
              <a:gd name="T0" fmla="*/ 4604 w 4604"/>
              <a:gd name="T1" fmla="*/ 5580 h 5580"/>
              <a:gd name="T2" fmla="*/ 4604 w 4604"/>
              <a:gd name="T3" fmla="*/ 0 h 5580"/>
              <a:gd name="T4" fmla="*/ 2937 w 4604"/>
              <a:gd name="T5" fmla="*/ 0 h 5580"/>
              <a:gd name="T6" fmla="*/ 0 w 4604"/>
              <a:gd name="T7" fmla="*/ 5580 h 5580"/>
              <a:gd name="T8" fmla="*/ 4604 w 4604"/>
              <a:gd name="T9" fmla="*/ 5580 h 5580"/>
            </a:gdLst>
            <a:ahLst/>
            <a:cxnLst>
              <a:cxn ang="0">
                <a:pos x="T0" y="T1"/>
              </a:cxn>
              <a:cxn ang="0">
                <a:pos x="T2" y="T3"/>
              </a:cxn>
              <a:cxn ang="0">
                <a:pos x="T4" y="T5"/>
              </a:cxn>
              <a:cxn ang="0">
                <a:pos x="T6" y="T7"/>
              </a:cxn>
              <a:cxn ang="0">
                <a:pos x="T8" y="T9"/>
              </a:cxn>
            </a:cxnLst>
            <a:rect l="0" t="0" r="r" b="b"/>
            <a:pathLst>
              <a:path w="4604" h="5580">
                <a:moveTo>
                  <a:pt x="4604" y="5580"/>
                </a:moveTo>
                <a:lnTo>
                  <a:pt x="4604" y="0"/>
                </a:lnTo>
                <a:lnTo>
                  <a:pt x="2937" y="0"/>
                </a:lnTo>
                <a:lnTo>
                  <a:pt x="0" y="5580"/>
                </a:lnTo>
                <a:lnTo>
                  <a:pt x="4604" y="5580"/>
                </a:lnTo>
                <a:close/>
              </a:path>
            </a:pathLst>
          </a:custGeom>
          <a:solidFill>
            <a:srgbClr val="E30C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aphicFrame>
        <p:nvGraphicFramePr>
          <p:cNvPr id="4" name="Object 3" hidden="1"/>
          <p:cNvGraphicFramePr>
            <a:graphicFrameLocks/>
          </p:cNvGraphicFramePr>
          <p:nvPr userDrawn="1">
            <p:custDataLst>
              <p:tags r:id="rId2"/>
            </p:custDataLst>
            <p:extLst>
              <p:ext uri="{D42A27DB-BD31-4B8C-83A1-F6EECF244321}">
                <p14:modId xmlns:p14="http://schemas.microsoft.com/office/powerpoint/2010/main" val="2639958507"/>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0" y="0"/>
                        <a:ext cx="112252" cy="224510"/>
                      </a:xfrm>
                      <a:prstGeom prst="rect">
                        <a:avLst/>
                      </a:prstGeom>
                    </p:spPr>
                  </p:pic>
                </p:oleObj>
              </mc:Fallback>
            </mc:AlternateContent>
          </a:graphicData>
        </a:graphic>
      </p:graphicFrame>
      <p:sp>
        <p:nvSpPr>
          <p:cNvPr id="2" name="Title 1"/>
          <p:cNvSpPr>
            <a:spLocks noGrp="1"/>
          </p:cNvSpPr>
          <p:nvPr>
            <p:ph type="ctrTitle" hasCustomPrompt="1"/>
            <p:custDataLst>
              <p:tags r:id="rId3"/>
            </p:custDataLst>
          </p:nvPr>
        </p:nvSpPr>
        <p:spPr>
          <a:xfrm>
            <a:off x="4776787" y="4479877"/>
            <a:ext cx="2136776" cy="984885"/>
          </a:xfrm>
          <a:prstGeom prst="rect">
            <a:avLst/>
          </a:prstGeom>
        </p:spPr>
        <p:txBody>
          <a:bodyPr wrap="square" anchor="b" anchorCtr="0">
            <a:spAutoFit/>
          </a:bodyPr>
          <a:lstStyle>
            <a:lvl1pPr algn="r">
              <a:defRPr sz="3200" baseline="0">
                <a:solidFill>
                  <a:schemeClr val="bg1"/>
                </a:solidFill>
              </a:defRPr>
            </a:lvl1pPr>
          </a:lstStyle>
          <a:p>
            <a:r>
              <a:rPr lang="en-US" dirty="0"/>
              <a:t>Section headline</a:t>
            </a:r>
            <a:endParaRPr lang="en-GB" dirty="0"/>
          </a:p>
        </p:txBody>
      </p:sp>
      <p:sp>
        <p:nvSpPr>
          <p:cNvPr id="3" name="Subtitle 2"/>
          <p:cNvSpPr>
            <a:spLocks noGrp="1"/>
          </p:cNvSpPr>
          <p:nvPr>
            <p:ph type="subTitle" idx="1" hasCustomPrompt="1"/>
            <p:custDataLst>
              <p:tags r:id="rId4"/>
            </p:custDataLst>
          </p:nvPr>
        </p:nvSpPr>
        <p:spPr>
          <a:xfrm>
            <a:off x="3922713" y="5820002"/>
            <a:ext cx="2990850" cy="246221"/>
          </a:xfrm>
          <a:prstGeom prst="rect">
            <a:avLst/>
          </a:prstGeom>
        </p:spPr>
        <p:txBody>
          <a:bodyPr/>
          <a:lstStyle>
            <a:lvl1pPr marL="0" marR="0" indent="0" algn="r" defTabSz="995690" rtl="0" eaLnBrk="1" fontAlgn="auto" latinLnBrk="0" hangingPunct="1">
              <a:lnSpc>
                <a:spcPct val="100000"/>
              </a:lnSpc>
              <a:spcBef>
                <a:spcPts val="0"/>
              </a:spcBef>
              <a:spcAft>
                <a:spcPts val="600"/>
              </a:spcAft>
              <a:buClrTx/>
              <a:buSzTx/>
              <a:buFont typeface="Arial" panose="020B0604020202020204" pitchFamily="34" charset="0"/>
              <a:buNone/>
              <a:tabLst/>
              <a:defRPr sz="1600" b="0">
                <a:solidFill>
                  <a:schemeClr val="bg1"/>
                </a:solidFill>
              </a:defRPr>
            </a:lvl1pPr>
            <a:lvl2pPr marL="497845" indent="0" algn="ctr">
              <a:buNone/>
              <a:defRPr>
                <a:solidFill>
                  <a:schemeClr val="tx1">
                    <a:tint val="75000"/>
                  </a:schemeClr>
                </a:solidFill>
              </a:defRPr>
            </a:lvl2pPr>
            <a:lvl3pPr marL="995690" indent="0" algn="ctr">
              <a:buNone/>
              <a:defRPr>
                <a:solidFill>
                  <a:schemeClr val="tx1">
                    <a:tint val="75000"/>
                  </a:schemeClr>
                </a:solidFill>
              </a:defRPr>
            </a:lvl3pPr>
            <a:lvl4pPr marL="1493535" indent="0" algn="ctr">
              <a:buNone/>
              <a:defRPr>
                <a:solidFill>
                  <a:schemeClr val="tx1">
                    <a:tint val="75000"/>
                  </a:schemeClr>
                </a:solidFill>
              </a:defRPr>
            </a:lvl4pPr>
            <a:lvl5pPr marL="1991380" indent="0" algn="ctr">
              <a:buNone/>
              <a:defRPr>
                <a:solidFill>
                  <a:schemeClr val="tx1">
                    <a:tint val="75000"/>
                  </a:schemeClr>
                </a:solidFill>
              </a:defRPr>
            </a:lvl5pPr>
            <a:lvl6pPr marL="2489225" indent="0" algn="ctr">
              <a:buNone/>
              <a:defRPr>
                <a:solidFill>
                  <a:schemeClr val="tx1">
                    <a:tint val="75000"/>
                  </a:schemeClr>
                </a:solidFill>
              </a:defRPr>
            </a:lvl6pPr>
            <a:lvl7pPr marL="2987070" indent="0" algn="ctr">
              <a:buNone/>
              <a:defRPr>
                <a:solidFill>
                  <a:schemeClr val="tx1">
                    <a:tint val="75000"/>
                  </a:schemeClr>
                </a:solidFill>
              </a:defRPr>
            </a:lvl7pPr>
            <a:lvl8pPr marL="3484916" indent="0" algn="ctr">
              <a:buNone/>
              <a:defRPr>
                <a:solidFill>
                  <a:schemeClr val="tx1">
                    <a:tint val="75000"/>
                  </a:schemeClr>
                </a:solidFill>
              </a:defRPr>
            </a:lvl8pPr>
            <a:lvl9pPr marL="3982761" indent="0" algn="ctr">
              <a:buNone/>
              <a:defRPr>
                <a:solidFill>
                  <a:schemeClr val="tx1">
                    <a:tint val="75000"/>
                  </a:schemeClr>
                </a:solidFill>
              </a:defRPr>
            </a:lvl9pPr>
          </a:lstStyle>
          <a:p>
            <a:r>
              <a:rPr lang="en-US" dirty="0"/>
              <a:t>Click to edit sub-title</a:t>
            </a:r>
          </a:p>
        </p:txBody>
      </p:sp>
      <p:pic>
        <p:nvPicPr>
          <p:cNvPr id="8" name="Picture 7"/>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716919" y="553713"/>
            <a:ext cx="2165429" cy="595779"/>
          </a:xfrm>
          <a:prstGeom prst="rect">
            <a:avLst/>
          </a:prstGeom>
        </p:spPr>
      </p:pic>
    </p:spTree>
    <p:extLst>
      <p:ext uri="{BB962C8B-B14F-4D97-AF65-F5344CB8AC3E}">
        <p14:creationId xmlns:p14="http://schemas.microsoft.com/office/powerpoint/2010/main" val="26611803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Two">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p:cNvGraphicFramePr>
          <p:nvPr userDrawn="1">
            <p:custDataLst>
              <p:tags r:id="rId1"/>
            </p:custDataLst>
            <p:extLst>
              <p:ext uri="{D42A27DB-BD31-4B8C-83A1-F6EECF244321}">
                <p14:modId xmlns:p14="http://schemas.microsoft.com/office/powerpoint/2010/main" val="327186928"/>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0" y="0"/>
                        <a:ext cx="112252" cy="224510"/>
                      </a:xfrm>
                      <a:prstGeom prst="rect">
                        <a:avLst/>
                      </a:prstGeom>
                    </p:spPr>
                  </p:pic>
                </p:oleObj>
              </mc:Fallback>
            </mc:AlternateContent>
          </a:graphicData>
        </a:graphic>
      </p:graphicFrame>
      <p:sp>
        <p:nvSpPr>
          <p:cNvPr id="2" name="Title 1"/>
          <p:cNvSpPr>
            <a:spLocks noGrp="1"/>
          </p:cNvSpPr>
          <p:nvPr>
            <p:ph type="ctrTitle" hasCustomPrompt="1"/>
            <p:custDataLst>
              <p:tags r:id="rId2"/>
            </p:custDataLst>
          </p:nvPr>
        </p:nvSpPr>
        <p:spPr>
          <a:xfrm>
            <a:off x="684213" y="1816099"/>
            <a:ext cx="3168652" cy="492443"/>
          </a:xfrm>
          <a:prstGeom prst="rect">
            <a:avLst/>
          </a:prstGeom>
        </p:spPr>
        <p:txBody>
          <a:bodyPr wrap="square" anchor="b" anchorCtr="0">
            <a:spAutoFit/>
          </a:bodyPr>
          <a:lstStyle>
            <a:lvl1pPr algn="l">
              <a:defRPr sz="3200" baseline="0">
                <a:solidFill>
                  <a:schemeClr val="accent1"/>
                </a:solidFill>
              </a:defRPr>
            </a:lvl1pPr>
          </a:lstStyle>
          <a:p>
            <a:r>
              <a:rPr lang="en-US" dirty="0"/>
              <a:t>Section headline</a:t>
            </a:r>
            <a:endParaRPr lang="en-GB" dirty="0"/>
          </a:p>
        </p:txBody>
      </p:sp>
      <p:sp>
        <p:nvSpPr>
          <p:cNvPr id="3" name="Subtitle 2"/>
          <p:cNvSpPr>
            <a:spLocks noGrp="1"/>
          </p:cNvSpPr>
          <p:nvPr>
            <p:ph type="subTitle" idx="1" hasCustomPrompt="1"/>
            <p:custDataLst>
              <p:tags r:id="rId3"/>
            </p:custDataLst>
          </p:nvPr>
        </p:nvSpPr>
        <p:spPr>
          <a:xfrm>
            <a:off x="684213" y="2629707"/>
            <a:ext cx="3168651" cy="150599"/>
          </a:xfrm>
          <a:prstGeom prst="rect">
            <a:avLst/>
          </a:prstGeom>
        </p:spPr>
        <p:txBody>
          <a:bodyPr/>
          <a:lstStyle>
            <a:lvl1pPr marL="0" marR="0" indent="0" algn="l" defTabSz="995690" rtl="0" eaLnBrk="1" fontAlgn="auto" latinLnBrk="0" hangingPunct="1">
              <a:lnSpc>
                <a:spcPct val="100000"/>
              </a:lnSpc>
              <a:spcBef>
                <a:spcPts val="0"/>
              </a:spcBef>
              <a:spcAft>
                <a:spcPts val="600"/>
              </a:spcAft>
              <a:buClrTx/>
              <a:buSzTx/>
              <a:buFont typeface="Arial" panose="020B0604020202020204" pitchFamily="34" charset="0"/>
              <a:buNone/>
              <a:tabLst/>
              <a:defRPr sz="1600" b="0">
                <a:solidFill>
                  <a:schemeClr val="tx1"/>
                </a:solidFill>
              </a:defRPr>
            </a:lvl1pPr>
            <a:lvl2pPr marL="497845" indent="0" algn="ctr">
              <a:buNone/>
              <a:defRPr>
                <a:solidFill>
                  <a:schemeClr val="tx1">
                    <a:tint val="75000"/>
                  </a:schemeClr>
                </a:solidFill>
              </a:defRPr>
            </a:lvl2pPr>
            <a:lvl3pPr marL="995690" indent="0" algn="ctr">
              <a:buNone/>
              <a:defRPr>
                <a:solidFill>
                  <a:schemeClr val="tx1">
                    <a:tint val="75000"/>
                  </a:schemeClr>
                </a:solidFill>
              </a:defRPr>
            </a:lvl3pPr>
            <a:lvl4pPr marL="1493535" indent="0" algn="ctr">
              <a:buNone/>
              <a:defRPr>
                <a:solidFill>
                  <a:schemeClr val="tx1">
                    <a:tint val="75000"/>
                  </a:schemeClr>
                </a:solidFill>
              </a:defRPr>
            </a:lvl4pPr>
            <a:lvl5pPr marL="1991380" indent="0" algn="ctr">
              <a:buNone/>
              <a:defRPr>
                <a:solidFill>
                  <a:schemeClr val="tx1">
                    <a:tint val="75000"/>
                  </a:schemeClr>
                </a:solidFill>
              </a:defRPr>
            </a:lvl5pPr>
            <a:lvl6pPr marL="2489225" indent="0" algn="ctr">
              <a:buNone/>
              <a:defRPr>
                <a:solidFill>
                  <a:schemeClr val="tx1">
                    <a:tint val="75000"/>
                  </a:schemeClr>
                </a:solidFill>
              </a:defRPr>
            </a:lvl6pPr>
            <a:lvl7pPr marL="2987070" indent="0" algn="ctr">
              <a:buNone/>
              <a:defRPr>
                <a:solidFill>
                  <a:schemeClr val="tx1">
                    <a:tint val="75000"/>
                  </a:schemeClr>
                </a:solidFill>
              </a:defRPr>
            </a:lvl7pPr>
            <a:lvl8pPr marL="3484916" indent="0" algn="ctr">
              <a:buNone/>
              <a:defRPr>
                <a:solidFill>
                  <a:schemeClr val="tx1">
                    <a:tint val="75000"/>
                  </a:schemeClr>
                </a:solidFill>
              </a:defRPr>
            </a:lvl8pPr>
            <a:lvl9pPr marL="3982761" indent="0" algn="ctr">
              <a:buNone/>
              <a:defRPr>
                <a:solidFill>
                  <a:schemeClr val="tx1">
                    <a:tint val="75000"/>
                  </a:schemeClr>
                </a:solidFill>
              </a:defRPr>
            </a:lvl9pPr>
          </a:lstStyle>
          <a:p>
            <a:r>
              <a:rPr lang="en-US" dirty="0"/>
              <a:t>Click to edit sub-title</a:t>
            </a:r>
          </a:p>
        </p:txBody>
      </p:sp>
      <p:sp>
        <p:nvSpPr>
          <p:cNvPr id="10" name="Picture Placeholder 18"/>
          <p:cNvSpPr>
            <a:spLocks noGrp="1"/>
          </p:cNvSpPr>
          <p:nvPr>
            <p:ph type="pic" sz="quarter" idx="12" hasCustomPrompt="1"/>
          </p:nvPr>
        </p:nvSpPr>
        <p:spPr>
          <a:xfrm>
            <a:off x="949325" y="6402387"/>
            <a:ext cx="6621350" cy="4291014"/>
          </a:xfrm>
          <a:custGeom>
            <a:avLst/>
            <a:gdLst>
              <a:gd name="connsiteX0" fmla="*/ 3994306 w 6600646"/>
              <a:gd name="connsiteY0" fmla="*/ 0 h 7578726"/>
              <a:gd name="connsiteX1" fmla="*/ 6600646 w 6600646"/>
              <a:gd name="connsiteY1" fmla="*/ 0 h 7578726"/>
              <a:gd name="connsiteX2" fmla="*/ 6600646 w 6600646"/>
              <a:gd name="connsiteY2" fmla="*/ 7578726 h 7578726"/>
              <a:gd name="connsiteX3" fmla="*/ 0 w 6600646"/>
              <a:gd name="connsiteY3" fmla="*/ 7578726 h 7578726"/>
              <a:gd name="connsiteX0" fmla="*/ 3994306 w 6600646"/>
              <a:gd name="connsiteY0" fmla="*/ 0 h 7578726"/>
              <a:gd name="connsiteX1" fmla="*/ 3952696 w 6600646"/>
              <a:gd name="connsiteY1" fmla="*/ 38100 h 7578726"/>
              <a:gd name="connsiteX2" fmla="*/ 6600646 w 6600646"/>
              <a:gd name="connsiteY2" fmla="*/ 7578726 h 7578726"/>
              <a:gd name="connsiteX3" fmla="*/ 0 w 6600646"/>
              <a:gd name="connsiteY3" fmla="*/ 7578726 h 7578726"/>
              <a:gd name="connsiteX4" fmla="*/ 3994306 w 6600646"/>
              <a:gd name="connsiteY4" fmla="*/ 0 h 7578726"/>
              <a:gd name="connsiteX0" fmla="*/ 3994306 w 3994306"/>
              <a:gd name="connsiteY0" fmla="*/ 0 h 7607301"/>
              <a:gd name="connsiteX1" fmla="*/ 3952696 w 3994306"/>
              <a:gd name="connsiteY1" fmla="*/ 38100 h 7607301"/>
              <a:gd name="connsiteX2" fmla="*/ 3952696 w 3994306"/>
              <a:gd name="connsiteY2" fmla="*/ 7607301 h 7607301"/>
              <a:gd name="connsiteX3" fmla="*/ 0 w 3994306"/>
              <a:gd name="connsiteY3" fmla="*/ 7578726 h 7607301"/>
              <a:gd name="connsiteX4" fmla="*/ 3994306 w 3994306"/>
              <a:gd name="connsiteY4" fmla="*/ 0 h 7607301"/>
              <a:gd name="connsiteX0" fmla="*/ 3953031 w 3953031"/>
              <a:gd name="connsiteY0" fmla="*/ 0 h 7581901"/>
              <a:gd name="connsiteX1" fmla="*/ 3952696 w 3953031"/>
              <a:gd name="connsiteY1" fmla="*/ 12700 h 7581901"/>
              <a:gd name="connsiteX2" fmla="*/ 3952696 w 3953031"/>
              <a:gd name="connsiteY2" fmla="*/ 7581901 h 7581901"/>
              <a:gd name="connsiteX3" fmla="*/ 0 w 3953031"/>
              <a:gd name="connsiteY3" fmla="*/ 7553326 h 7581901"/>
              <a:gd name="connsiteX4" fmla="*/ 3953031 w 3953031"/>
              <a:gd name="connsiteY4" fmla="*/ 0 h 7581901"/>
              <a:gd name="connsiteX0" fmla="*/ 3953031 w 3953031"/>
              <a:gd name="connsiteY0" fmla="*/ 0 h 7600951"/>
              <a:gd name="connsiteX1" fmla="*/ 3952696 w 3953031"/>
              <a:gd name="connsiteY1" fmla="*/ 31750 h 7600951"/>
              <a:gd name="connsiteX2" fmla="*/ 3952696 w 3953031"/>
              <a:gd name="connsiteY2" fmla="*/ 7600951 h 7600951"/>
              <a:gd name="connsiteX3" fmla="*/ 0 w 3953031"/>
              <a:gd name="connsiteY3" fmla="*/ 7572376 h 7600951"/>
              <a:gd name="connsiteX4" fmla="*/ 3953031 w 3953031"/>
              <a:gd name="connsiteY4"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0 w 3987956"/>
              <a:gd name="connsiteY3" fmla="*/ 7572376 h 7600951"/>
              <a:gd name="connsiteX4" fmla="*/ 3987956 w 3987956"/>
              <a:gd name="connsiteY4"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0 w 3987956"/>
              <a:gd name="connsiteY3" fmla="*/ 7572376 h 7600951"/>
              <a:gd name="connsiteX4" fmla="*/ 3921657 w 3987956"/>
              <a:gd name="connsiteY4" fmla="*/ 127762 h 7600951"/>
              <a:gd name="connsiteX5" fmla="*/ 3987956 w 3987956"/>
              <a:gd name="connsiteY5"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3921657 w 3987956"/>
              <a:gd name="connsiteY3" fmla="*/ 7596950 h 7600951"/>
              <a:gd name="connsiteX4" fmla="*/ 0 w 3987956"/>
              <a:gd name="connsiteY4" fmla="*/ 7572376 h 7600951"/>
              <a:gd name="connsiteX5" fmla="*/ 3921657 w 3987956"/>
              <a:gd name="connsiteY5" fmla="*/ 127762 h 7600951"/>
              <a:gd name="connsiteX6" fmla="*/ 3987956 w 3987956"/>
              <a:gd name="connsiteY6" fmla="*/ 0 h 7600951"/>
              <a:gd name="connsiteX0" fmla="*/ 3987956 w 3987956"/>
              <a:gd name="connsiteY0" fmla="*/ 0 h 7600951"/>
              <a:gd name="connsiteX1" fmla="*/ 3987621 w 3987956"/>
              <a:gd name="connsiteY1" fmla="*/ 31750 h 7600951"/>
              <a:gd name="connsiteX2" fmla="*/ 3987621 w 3987956"/>
              <a:gd name="connsiteY2" fmla="*/ 7600951 h 7600951"/>
              <a:gd name="connsiteX3" fmla="*/ 3921657 w 3987956"/>
              <a:gd name="connsiteY3" fmla="*/ 7596950 h 7600951"/>
              <a:gd name="connsiteX4" fmla="*/ 0 w 3987956"/>
              <a:gd name="connsiteY4" fmla="*/ 7572376 h 7600951"/>
              <a:gd name="connsiteX5" fmla="*/ 3921657 w 3987956"/>
              <a:gd name="connsiteY5" fmla="*/ 127762 h 7600951"/>
              <a:gd name="connsiteX6" fmla="*/ 3987956 w 3987956"/>
              <a:gd name="connsiteY6" fmla="*/ 0 h 7600951"/>
              <a:gd name="connsiteX0" fmla="*/ 3987956 w 3987956"/>
              <a:gd name="connsiteY0" fmla="*/ 0 h 7596950"/>
              <a:gd name="connsiteX1" fmla="*/ 3987621 w 3987956"/>
              <a:gd name="connsiteY1" fmla="*/ 31750 h 7596950"/>
              <a:gd name="connsiteX2" fmla="*/ 3921657 w 3987956"/>
              <a:gd name="connsiteY2" fmla="*/ 7596950 h 7596950"/>
              <a:gd name="connsiteX3" fmla="*/ 0 w 3987956"/>
              <a:gd name="connsiteY3" fmla="*/ 7572376 h 7596950"/>
              <a:gd name="connsiteX4" fmla="*/ 3921657 w 3987956"/>
              <a:gd name="connsiteY4" fmla="*/ 127762 h 7596950"/>
              <a:gd name="connsiteX5" fmla="*/ 3987956 w 3987956"/>
              <a:gd name="connsiteY5" fmla="*/ 0 h 7596950"/>
              <a:gd name="connsiteX0" fmla="*/ 3921657 w 3987621"/>
              <a:gd name="connsiteY0" fmla="*/ 96012 h 7565200"/>
              <a:gd name="connsiteX1" fmla="*/ 3987621 w 3987621"/>
              <a:gd name="connsiteY1" fmla="*/ 0 h 7565200"/>
              <a:gd name="connsiteX2" fmla="*/ 3921657 w 3987621"/>
              <a:gd name="connsiteY2" fmla="*/ 7565200 h 7565200"/>
              <a:gd name="connsiteX3" fmla="*/ 0 w 3987621"/>
              <a:gd name="connsiteY3" fmla="*/ 7540626 h 7565200"/>
              <a:gd name="connsiteX4" fmla="*/ 3921657 w 3987621"/>
              <a:gd name="connsiteY4" fmla="*/ 96012 h 7565200"/>
              <a:gd name="connsiteX0" fmla="*/ 3921657 w 3921657"/>
              <a:gd name="connsiteY0" fmla="*/ 0 h 7469188"/>
              <a:gd name="connsiteX1" fmla="*/ 3921657 w 3921657"/>
              <a:gd name="connsiteY1" fmla="*/ 7469188 h 7469188"/>
              <a:gd name="connsiteX2" fmla="*/ 0 w 3921657"/>
              <a:gd name="connsiteY2" fmla="*/ 7444614 h 7469188"/>
              <a:gd name="connsiteX3" fmla="*/ 3921657 w 3921657"/>
              <a:gd name="connsiteY3" fmla="*/ 0 h 7469188"/>
              <a:gd name="connsiteX0" fmla="*/ 3945470 w 3945470"/>
              <a:gd name="connsiteY0" fmla="*/ 0 h 7473189"/>
              <a:gd name="connsiteX1" fmla="*/ 3945470 w 3945470"/>
              <a:gd name="connsiteY1" fmla="*/ 7469188 h 7473189"/>
              <a:gd name="connsiteX2" fmla="*/ 0 w 3945470"/>
              <a:gd name="connsiteY2" fmla="*/ 7473189 h 7473189"/>
              <a:gd name="connsiteX3" fmla="*/ 3945470 w 3945470"/>
              <a:gd name="connsiteY3" fmla="*/ 0 h 7473189"/>
              <a:gd name="connsiteX0" fmla="*/ 3945470 w 5550433"/>
              <a:gd name="connsiteY0" fmla="*/ 0 h 7473950"/>
              <a:gd name="connsiteX1" fmla="*/ 5550433 w 5550433"/>
              <a:gd name="connsiteY1" fmla="*/ 7473950 h 7473950"/>
              <a:gd name="connsiteX2" fmla="*/ 0 w 5550433"/>
              <a:gd name="connsiteY2" fmla="*/ 7473189 h 7473950"/>
              <a:gd name="connsiteX3" fmla="*/ 3945470 w 5550433"/>
              <a:gd name="connsiteY3" fmla="*/ 0 h 7473950"/>
              <a:gd name="connsiteX0" fmla="*/ 3974045 w 5550433"/>
              <a:gd name="connsiteY0" fmla="*/ 0 h 7554913"/>
              <a:gd name="connsiteX1" fmla="*/ 5550433 w 5550433"/>
              <a:gd name="connsiteY1" fmla="*/ 7554913 h 7554913"/>
              <a:gd name="connsiteX2" fmla="*/ 0 w 5550433"/>
              <a:gd name="connsiteY2" fmla="*/ 7554152 h 7554913"/>
              <a:gd name="connsiteX3" fmla="*/ 3974045 w 5550433"/>
              <a:gd name="connsiteY3" fmla="*/ 0 h 7554913"/>
              <a:gd name="connsiteX0" fmla="*/ 3974045 w 5550433"/>
              <a:gd name="connsiteY0" fmla="*/ 0 h 7554913"/>
              <a:gd name="connsiteX1" fmla="*/ 4112754 w 5550433"/>
              <a:gd name="connsiteY1" fmla="*/ 646113 h 7554913"/>
              <a:gd name="connsiteX2" fmla="*/ 5550433 w 5550433"/>
              <a:gd name="connsiteY2" fmla="*/ 7554913 h 7554913"/>
              <a:gd name="connsiteX3" fmla="*/ 0 w 5550433"/>
              <a:gd name="connsiteY3" fmla="*/ 7554152 h 7554913"/>
              <a:gd name="connsiteX4" fmla="*/ 3974045 w 5550433"/>
              <a:gd name="connsiteY4" fmla="*/ 0 h 7554913"/>
              <a:gd name="connsiteX0" fmla="*/ 3974045 w 5550433"/>
              <a:gd name="connsiteY0" fmla="*/ 0 h 7554913"/>
              <a:gd name="connsiteX1" fmla="*/ 4112754 w 5550433"/>
              <a:gd name="connsiteY1" fmla="*/ 646113 h 7554913"/>
              <a:gd name="connsiteX2" fmla="*/ 5550433 w 5550433"/>
              <a:gd name="connsiteY2" fmla="*/ 7554913 h 7554913"/>
              <a:gd name="connsiteX3" fmla="*/ 0 w 5550433"/>
              <a:gd name="connsiteY3" fmla="*/ 7554152 h 7554913"/>
              <a:gd name="connsiteX4" fmla="*/ 3974045 w 5550433"/>
              <a:gd name="connsiteY4" fmla="*/ 0 h 7554913"/>
              <a:gd name="connsiteX0" fmla="*/ 3974045 w 5551029"/>
              <a:gd name="connsiteY0" fmla="*/ 15875 h 7570788"/>
              <a:gd name="connsiteX1" fmla="*/ 5551029 w 5551029"/>
              <a:gd name="connsiteY1" fmla="*/ 0 h 7570788"/>
              <a:gd name="connsiteX2" fmla="*/ 5550433 w 5551029"/>
              <a:gd name="connsiteY2" fmla="*/ 7570788 h 7570788"/>
              <a:gd name="connsiteX3" fmla="*/ 0 w 5551029"/>
              <a:gd name="connsiteY3" fmla="*/ 7570027 h 7570788"/>
              <a:gd name="connsiteX4" fmla="*/ 3974045 w 5551029"/>
              <a:gd name="connsiteY4" fmla="*/ 15875 h 7570788"/>
              <a:gd name="connsiteX0" fmla="*/ 3974045 w 5550434"/>
              <a:gd name="connsiteY0" fmla="*/ 15875 h 7570788"/>
              <a:gd name="connsiteX1" fmla="*/ 5525629 w 5550434"/>
              <a:gd name="connsiteY1" fmla="*/ 0 h 7570788"/>
              <a:gd name="connsiteX2" fmla="*/ 5550433 w 5550434"/>
              <a:gd name="connsiteY2" fmla="*/ 7570788 h 7570788"/>
              <a:gd name="connsiteX3" fmla="*/ 0 w 5550434"/>
              <a:gd name="connsiteY3" fmla="*/ 7570027 h 7570788"/>
              <a:gd name="connsiteX4" fmla="*/ 3974045 w 5550434"/>
              <a:gd name="connsiteY4" fmla="*/ 15875 h 7570788"/>
              <a:gd name="connsiteX0" fmla="*/ 3980395 w 5550434"/>
              <a:gd name="connsiteY0" fmla="*/ 3175 h 7570788"/>
              <a:gd name="connsiteX1" fmla="*/ 5525629 w 5550434"/>
              <a:gd name="connsiteY1" fmla="*/ 0 h 7570788"/>
              <a:gd name="connsiteX2" fmla="*/ 5550433 w 5550434"/>
              <a:gd name="connsiteY2" fmla="*/ 7570788 h 7570788"/>
              <a:gd name="connsiteX3" fmla="*/ 0 w 5550434"/>
              <a:gd name="connsiteY3" fmla="*/ 7570027 h 7570788"/>
              <a:gd name="connsiteX4" fmla="*/ 3980395 w 5550434"/>
              <a:gd name="connsiteY4" fmla="*/ 3175 h 7570788"/>
              <a:gd name="connsiteX0" fmla="*/ 3980395 w 5525629"/>
              <a:gd name="connsiteY0" fmla="*/ 3175 h 7570788"/>
              <a:gd name="connsiteX1" fmla="*/ 5525629 w 5525629"/>
              <a:gd name="connsiteY1" fmla="*/ 0 h 7570788"/>
              <a:gd name="connsiteX2" fmla="*/ 5525033 w 5525629"/>
              <a:gd name="connsiteY2" fmla="*/ 7570788 h 7570788"/>
              <a:gd name="connsiteX3" fmla="*/ 0 w 5525629"/>
              <a:gd name="connsiteY3" fmla="*/ 7570027 h 7570788"/>
              <a:gd name="connsiteX4" fmla="*/ 3980395 w 5525629"/>
              <a:gd name="connsiteY4" fmla="*/ 3175 h 7570788"/>
              <a:gd name="connsiteX0" fmla="*/ 3980395 w 5525629"/>
              <a:gd name="connsiteY0" fmla="*/ 3175 h 7570788"/>
              <a:gd name="connsiteX1" fmla="*/ 5525629 w 5525629"/>
              <a:gd name="connsiteY1" fmla="*/ 0 h 7570788"/>
              <a:gd name="connsiteX2" fmla="*/ 5525033 w 5525629"/>
              <a:gd name="connsiteY2" fmla="*/ 7570788 h 7570788"/>
              <a:gd name="connsiteX3" fmla="*/ 0 w 5525629"/>
              <a:gd name="connsiteY3" fmla="*/ 7570027 h 7570788"/>
              <a:gd name="connsiteX4" fmla="*/ 3980395 w 5525629"/>
              <a:gd name="connsiteY4" fmla="*/ 3175 h 7570788"/>
              <a:gd name="connsiteX0" fmla="*/ 3980395 w 5525035"/>
              <a:gd name="connsiteY0" fmla="*/ 3175 h 7570788"/>
              <a:gd name="connsiteX1" fmla="*/ 5512929 w 5525035"/>
              <a:gd name="connsiteY1" fmla="*/ 0 h 7570788"/>
              <a:gd name="connsiteX2" fmla="*/ 5525033 w 5525035"/>
              <a:gd name="connsiteY2" fmla="*/ 7570788 h 7570788"/>
              <a:gd name="connsiteX3" fmla="*/ 0 w 5525035"/>
              <a:gd name="connsiteY3" fmla="*/ 7570027 h 7570788"/>
              <a:gd name="connsiteX4" fmla="*/ 3980395 w 5525035"/>
              <a:gd name="connsiteY4" fmla="*/ 3175 h 7570788"/>
              <a:gd name="connsiteX0" fmla="*/ 3980395 w 5525035"/>
              <a:gd name="connsiteY0" fmla="*/ 3175 h 7570788"/>
              <a:gd name="connsiteX1" fmla="*/ 5512929 w 5525035"/>
              <a:gd name="connsiteY1" fmla="*/ 0 h 7570788"/>
              <a:gd name="connsiteX2" fmla="*/ 5525033 w 5525035"/>
              <a:gd name="connsiteY2" fmla="*/ 7570788 h 7570788"/>
              <a:gd name="connsiteX3" fmla="*/ 0 w 5525035"/>
              <a:gd name="connsiteY3" fmla="*/ 7570027 h 7570788"/>
              <a:gd name="connsiteX4" fmla="*/ 2705563 w 5525035"/>
              <a:gd name="connsiteY4" fmla="*/ 2422525 h 7570788"/>
              <a:gd name="connsiteX5" fmla="*/ 3980395 w 5525035"/>
              <a:gd name="connsiteY5" fmla="*/ 3175 h 7570788"/>
              <a:gd name="connsiteX0" fmla="*/ 3980395 w 5931555"/>
              <a:gd name="connsiteY0" fmla="*/ 317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6" fmla="*/ 3980395 w 5931555"/>
              <a:gd name="connsiteY6" fmla="*/ 3175 h 7570788"/>
              <a:gd name="connsiteX0" fmla="*/ 3980395 w 5931555"/>
              <a:gd name="connsiteY0" fmla="*/ 317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6" fmla="*/ 3980395 w 5931555"/>
              <a:gd name="connsiteY6" fmla="*/ 3175 h 7570788"/>
              <a:gd name="connsiteX0" fmla="*/ 2705563 w 5931555"/>
              <a:gd name="connsiteY0" fmla="*/ 2422525 h 7570788"/>
              <a:gd name="connsiteX1" fmla="*/ 5512929 w 5931555"/>
              <a:gd name="connsiteY1" fmla="*/ 0 h 7570788"/>
              <a:gd name="connsiteX2" fmla="*/ 5515438 w 5931555"/>
              <a:gd name="connsiteY2" fmla="*/ 2417763 h 7570788"/>
              <a:gd name="connsiteX3" fmla="*/ 5525033 w 5931555"/>
              <a:gd name="connsiteY3" fmla="*/ 7570788 h 7570788"/>
              <a:gd name="connsiteX4" fmla="*/ 0 w 5931555"/>
              <a:gd name="connsiteY4" fmla="*/ 7570027 h 7570788"/>
              <a:gd name="connsiteX5" fmla="*/ 2705563 w 5931555"/>
              <a:gd name="connsiteY5" fmla="*/ 2422525 h 7570788"/>
              <a:gd name="connsiteX0" fmla="*/ 2705563 w 5931555"/>
              <a:gd name="connsiteY0" fmla="*/ 4762 h 5153025"/>
              <a:gd name="connsiteX1" fmla="*/ 5515438 w 5931555"/>
              <a:gd name="connsiteY1" fmla="*/ 0 h 5153025"/>
              <a:gd name="connsiteX2" fmla="*/ 5525033 w 5931555"/>
              <a:gd name="connsiteY2" fmla="*/ 5153025 h 5153025"/>
              <a:gd name="connsiteX3" fmla="*/ 0 w 5931555"/>
              <a:gd name="connsiteY3" fmla="*/ 5152264 h 5153025"/>
              <a:gd name="connsiteX4" fmla="*/ 2705563 w 5931555"/>
              <a:gd name="connsiteY4" fmla="*/ 4762 h 5153025"/>
              <a:gd name="connsiteX0" fmla="*/ 2705563 w 5932168"/>
              <a:gd name="connsiteY0" fmla="*/ 4762 h 5153025"/>
              <a:gd name="connsiteX1" fmla="*/ 5515438 w 5932168"/>
              <a:gd name="connsiteY1" fmla="*/ 0 h 5153025"/>
              <a:gd name="connsiteX2" fmla="*/ 5525033 w 5932168"/>
              <a:gd name="connsiteY2" fmla="*/ 5153025 h 5153025"/>
              <a:gd name="connsiteX3" fmla="*/ 0 w 5932168"/>
              <a:gd name="connsiteY3" fmla="*/ 5152264 h 5153025"/>
              <a:gd name="connsiteX4" fmla="*/ 2705563 w 5932168"/>
              <a:gd name="connsiteY4" fmla="*/ 4762 h 5153025"/>
              <a:gd name="connsiteX0" fmla="*/ 2705563 w 5525033"/>
              <a:gd name="connsiteY0" fmla="*/ 4762 h 5153025"/>
              <a:gd name="connsiteX1" fmla="*/ 5515438 w 5525033"/>
              <a:gd name="connsiteY1" fmla="*/ 0 h 5153025"/>
              <a:gd name="connsiteX2" fmla="*/ 5525033 w 5525033"/>
              <a:gd name="connsiteY2" fmla="*/ 5153025 h 5153025"/>
              <a:gd name="connsiteX3" fmla="*/ 0 w 5525033"/>
              <a:gd name="connsiteY3" fmla="*/ 5152264 h 5153025"/>
              <a:gd name="connsiteX4" fmla="*/ 2705563 w 5525033"/>
              <a:gd name="connsiteY4" fmla="*/ 4762 h 5153025"/>
              <a:gd name="connsiteX0" fmla="*/ 2700800 w 5525033"/>
              <a:gd name="connsiteY0" fmla="*/ 9524 h 5153025"/>
              <a:gd name="connsiteX1" fmla="*/ 5515438 w 5525033"/>
              <a:gd name="connsiteY1" fmla="*/ 0 h 5153025"/>
              <a:gd name="connsiteX2" fmla="*/ 5525033 w 5525033"/>
              <a:gd name="connsiteY2" fmla="*/ 5153025 h 5153025"/>
              <a:gd name="connsiteX3" fmla="*/ 0 w 5525033"/>
              <a:gd name="connsiteY3" fmla="*/ 5152264 h 5153025"/>
              <a:gd name="connsiteX4" fmla="*/ 2700800 w 5525033"/>
              <a:gd name="connsiteY4" fmla="*/ 9524 h 5153025"/>
              <a:gd name="connsiteX0" fmla="*/ 2700800 w 5525033"/>
              <a:gd name="connsiteY0" fmla="*/ 4762 h 5148263"/>
              <a:gd name="connsiteX1" fmla="*/ 3991438 w 5525033"/>
              <a:gd name="connsiteY1" fmla="*/ 0 h 5148263"/>
              <a:gd name="connsiteX2" fmla="*/ 5525033 w 5525033"/>
              <a:gd name="connsiteY2" fmla="*/ 5148263 h 5148263"/>
              <a:gd name="connsiteX3" fmla="*/ 0 w 5525033"/>
              <a:gd name="connsiteY3" fmla="*/ 5147502 h 5148263"/>
              <a:gd name="connsiteX4" fmla="*/ 2700800 w 5525033"/>
              <a:gd name="connsiteY4" fmla="*/ 4762 h 5148263"/>
              <a:gd name="connsiteX0" fmla="*/ 2700800 w 5525033"/>
              <a:gd name="connsiteY0" fmla="*/ 4762 h 5148263"/>
              <a:gd name="connsiteX1" fmla="*/ 3991438 w 5525033"/>
              <a:gd name="connsiteY1" fmla="*/ 0 h 5148263"/>
              <a:gd name="connsiteX2" fmla="*/ 5525033 w 5525033"/>
              <a:gd name="connsiteY2" fmla="*/ 5148263 h 5148263"/>
              <a:gd name="connsiteX3" fmla="*/ 0 w 5525033"/>
              <a:gd name="connsiteY3" fmla="*/ 5147502 h 5148263"/>
              <a:gd name="connsiteX4" fmla="*/ 2700800 w 5525033"/>
              <a:gd name="connsiteY4" fmla="*/ 4762 h 5148263"/>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2700800 w 3996271"/>
              <a:gd name="connsiteY4" fmla="*/ 4762 h 5147502"/>
              <a:gd name="connsiteX0" fmla="*/ 2700800 w 3996271"/>
              <a:gd name="connsiteY0" fmla="*/ 4762 h 5147502"/>
              <a:gd name="connsiteX1" fmla="*/ 3991438 w 3996271"/>
              <a:gd name="connsiteY1" fmla="*/ 0 h 5147502"/>
              <a:gd name="connsiteX2" fmla="*/ 3996271 w 3996271"/>
              <a:gd name="connsiteY2" fmla="*/ 5145882 h 5147502"/>
              <a:gd name="connsiteX3" fmla="*/ 0 w 3996271"/>
              <a:gd name="connsiteY3" fmla="*/ 5147502 h 5147502"/>
              <a:gd name="connsiteX4" fmla="*/ 76373 w 3996271"/>
              <a:gd name="connsiteY4" fmla="*/ 5000447 h 5147502"/>
              <a:gd name="connsiteX5" fmla="*/ 2700800 w 3996271"/>
              <a:gd name="connsiteY5" fmla="*/ 4762 h 5147502"/>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4292281"/>
              <a:gd name="connsiteY0" fmla="*/ 4762 h 5409611"/>
              <a:gd name="connsiteX1" fmla="*/ 3991438 w 4292281"/>
              <a:gd name="connsiteY1" fmla="*/ 0 h 5409611"/>
              <a:gd name="connsiteX2" fmla="*/ 3995704 w 4292281"/>
              <a:gd name="connsiteY2" fmla="*/ 4990423 h 5409611"/>
              <a:gd name="connsiteX3" fmla="*/ 3996271 w 4292281"/>
              <a:gd name="connsiteY3" fmla="*/ 5145882 h 5409611"/>
              <a:gd name="connsiteX4" fmla="*/ 0 w 4292281"/>
              <a:gd name="connsiteY4" fmla="*/ 5147502 h 5409611"/>
              <a:gd name="connsiteX5" fmla="*/ 76373 w 4292281"/>
              <a:gd name="connsiteY5" fmla="*/ 5000447 h 5409611"/>
              <a:gd name="connsiteX6" fmla="*/ 2700800 w 4292281"/>
              <a:gd name="connsiteY6" fmla="*/ 4762 h 5409611"/>
              <a:gd name="connsiteX0" fmla="*/ 2700800 w 3995704"/>
              <a:gd name="connsiteY0" fmla="*/ 4762 h 5416736"/>
              <a:gd name="connsiteX1" fmla="*/ 3991438 w 3995704"/>
              <a:gd name="connsiteY1" fmla="*/ 0 h 5416736"/>
              <a:gd name="connsiteX2" fmla="*/ 3995704 w 3995704"/>
              <a:gd name="connsiteY2" fmla="*/ 4990423 h 5416736"/>
              <a:gd name="connsiteX3" fmla="*/ 0 w 3995704"/>
              <a:gd name="connsiteY3" fmla="*/ 5147502 h 5416736"/>
              <a:gd name="connsiteX4" fmla="*/ 76373 w 3995704"/>
              <a:gd name="connsiteY4" fmla="*/ 5000447 h 5416736"/>
              <a:gd name="connsiteX5" fmla="*/ 2700800 w 3995704"/>
              <a:gd name="connsiteY5" fmla="*/ 4762 h 5416736"/>
              <a:gd name="connsiteX0" fmla="*/ 2624427 w 3919331"/>
              <a:gd name="connsiteY0" fmla="*/ 4762 h 5619584"/>
              <a:gd name="connsiteX1" fmla="*/ 3915065 w 3919331"/>
              <a:gd name="connsiteY1" fmla="*/ 0 h 5619584"/>
              <a:gd name="connsiteX2" fmla="*/ 3919331 w 3919331"/>
              <a:gd name="connsiteY2" fmla="*/ 4990423 h 5619584"/>
              <a:gd name="connsiteX3" fmla="*/ 0 w 3919331"/>
              <a:gd name="connsiteY3" fmla="*/ 5000447 h 5619584"/>
              <a:gd name="connsiteX4" fmla="*/ 2624427 w 3919331"/>
              <a:gd name="connsiteY4" fmla="*/ 4762 h 5619584"/>
              <a:gd name="connsiteX0" fmla="*/ 2624427 w 3919331"/>
              <a:gd name="connsiteY0" fmla="*/ 4762 h 5362318"/>
              <a:gd name="connsiteX1" fmla="*/ 3915065 w 3919331"/>
              <a:gd name="connsiteY1" fmla="*/ 0 h 5362318"/>
              <a:gd name="connsiteX2" fmla="*/ 3919331 w 3919331"/>
              <a:gd name="connsiteY2" fmla="*/ 4990423 h 5362318"/>
              <a:gd name="connsiteX3" fmla="*/ 0 w 3919331"/>
              <a:gd name="connsiteY3" fmla="*/ 5000447 h 5362318"/>
              <a:gd name="connsiteX4" fmla="*/ 2624427 w 3919331"/>
              <a:gd name="connsiteY4" fmla="*/ 4762 h 5362318"/>
              <a:gd name="connsiteX0" fmla="*/ 2624427 w 3919331"/>
              <a:gd name="connsiteY0" fmla="*/ 4762 h 5000447"/>
              <a:gd name="connsiteX1" fmla="*/ 3915065 w 3919331"/>
              <a:gd name="connsiteY1" fmla="*/ 0 h 5000447"/>
              <a:gd name="connsiteX2" fmla="*/ 3919331 w 3919331"/>
              <a:gd name="connsiteY2" fmla="*/ 4990423 h 5000447"/>
              <a:gd name="connsiteX3" fmla="*/ 0 w 3919331"/>
              <a:gd name="connsiteY3" fmla="*/ 5000447 h 5000447"/>
              <a:gd name="connsiteX4" fmla="*/ 2624427 w 3919331"/>
              <a:gd name="connsiteY4" fmla="*/ 4762 h 5000447"/>
              <a:gd name="connsiteX0" fmla="*/ 2678589 w 3919331"/>
              <a:gd name="connsiteY0" fmla="*/ 0 h 5080797"/>
              <a:gd name="connsiteX1" fmla="*/ 3915065 w 3919331"/>
              <a:gd name="connsiteY1" fmla="*/ 80350 h 5080797"/>
              <a:gd name="connsiteX2" fmla="*/ 3919331 w 3919331"/>
              <a:gd name="connsiteY2" fmla="*/ 5070773 h 5080797"/>
              <a:gd name="connsiteX3" fmla="*/ 0 w 3919331"/>
              <a:gd name="connsiteY3" fmla="*/ 5080797 h 5080797"/>
              <a:gd name="connsiteX4" fmla="*/ 2678589 w 3919331"/>
              <a:gd name="connsiteY4" fmla="*/ 0 h 5080797"/>
              <a:gd name="connsiteX0" fmla="*/ 2678589 w 3922803"/>
              <a:gd name="connsiteY0" fmla="*/ 893 h 5081690"/>
              <a:gd name="connsiteX1" fmla="*/ 3922803 w 3922803"/>
              <a:gd name="connsiteY1" fmla="*/ 0 h 5081690"/>
              <a:gd name="connsiteX2" fmla="*/ 3919331 w 3922803"/>
              <a:gd name="connsiteY2" fmla="*/ 5071666 h 5081690"/>
              <a:gd name="connsiteX3" fmla="*/ 0 w 3922803"/>
              <a:gd name="connsiteY3" fmla="*/ 5081690 h 5081690"/>
              <a:gd name="connsiteX4" fmla="*/ 2678589 w 3922803"/>
              <a:gd name="connsiteY4" fmla="*/ 893 h 5081690"/>
              <a:gd name="connsiteX0" fmla="*/ 2678589 w 3922803"/>
              <a:gd name="connsiteY0" fmla="*/ 10016 h 5090813"/>
              <a:gd name="connsiteX1" fmla="*/ 3791709 w 3922803"/>
              <a:gd name="connsiteY1" fmla="*/ 0 h 5090813"/>
              <a:gd name="connsiteX2" fmla="*/ 3922803 w 3922803"/>
              <a:gd name="connsiteY2" fmla="*/ 9123 h 5090813"/>
              <a:gd name="connsiteX3" fmla="*/ 3919331 w 3922803"/>
              <a:gd name="connsiteY3" fmla="*/ 5080789 h 5090813"/>
              <a:gd name="connsiteX4" fmla="*/ 0 w 3922803"/>
              <a:gd name="connsiteY4" fmla="*/ 5090813 h 5090813"/>
              <a:gd name="connsiteX5" fmla="*/ 2678589 w 3922803"/>
              <a:gd name="connsiteY5" fmla="*/ 10016 h 5090813"/>
              <a:gd name="connsiteX0" fmla="*/ 2678589 w 3922803"/>
              <a:gd name="connsiteY0" fmla="*/ 10016 h 5090813"/>
              <a:gd name="connsiteX1" fmla="*/ 3791709 w 3922803"/>
              <a:gd name="connsiteY1" fmla="*/ 0 h 5090813"/>
              <a:gd name="connsiteX2" fmla="*/ 3922803 w 3922803"/>
              <a:gd name="connsiteY2" fmla="*/ 9123 h 5090813"/>
              <a:gd name="connsiteX3" fmla="*/ 3919331 w 3922803"/>
              <a:gd name="connsiteY3" fmla="*/ 5080789 h 5090813"/>
              <a:gd name="connsiteX4" fmla="*/ 3791709 w 3922803"/>
              <a:gd name="connsiteY4" fmla="*/ 5076247 h 5090813"/>
              <a:gd name="connsiteX5" fmla="*/ 0 w 3922803"/>
              <a:gd name="connsiteY5" fmla="*/ 5090813 h 5090813"/>
              <a:gd name="connsiteX6" fmla="*/ 2678589 w 3922803"/>
              <a:gd name="connsiteY6" fmla="*/ 10016 h 5090813"/>
              <a:gd name="connsiteX0" fmla="*/ 2678589 w 4120653"/>
              <a:gd name="connsiteY0" fmla="*/ 10016 h 5090813"/>
              <a:gd name="connsiteX1" fmla="*/ 3791709 w 4120653"/>
              <a:gd name="connsiteY1" fmla="*/ 0 h 5090813"/>
              <a:gd name="connsiteX2" fmla="*/ 3922803 w 4120653"/>
              <a:gd name="connsiteY2" fmla="*/ 9123 h 5090813"/>
              <a:gd name="connsiteX3" fmla="*/ 3791709 w 4120653"/>
              <a:gd name="connsiteY3" fmla="*/ 5076247 h 5090813"/>
              <a:gd name="connsiteX4" fmla="*/ 0 w 4120653"/>
              <a:gd name="connsiteY4" fmla="*/ 5090813 h 5090813"/>
              <a:gd name="connsiteX5" fmla="*/ 2678589 w 4120653"/>
              <a:gd name="connsiteY5" fmla="*/ 10016 h 5090813"/>
              <a:gd name="connsiteX0" fmla="*/ 2678589 w 4111904"/>
              <a:gd name="connsiteY0" fmla="*/ 371665 h 5452462"/>
              <a:gd name="connsiteX1" fmla="*/ 3791709 w 4111904"/>
              <a:gd name="connsiteY1" fmla="*/ 361649 h 5452462"/>
              <a:gd name="connsiteX2" fmla="*/ 3922803 w 4111904"/>
              <a:gd name="connsiteY2" fmla="*/ 370772 h 5452462"/>
              <a:gd name="connsiteX3" fmla="*/ 3915520 w 4111904"/>
              <a:gd name="connsiteY3" fmla="*/ 376216 h 5452462"/>
              <a:gd name="connsiteX4" fmla="*/ 3791709 w 4111904"/>
              <a:gd name="connsiteY4" fmla="*/ 5437896 h 5452462"/>
              <a:gd name="connsiteX5" fmla="*/ 0 w 4111904"/>
              <a:gd name="connsiteY5" fmla="*/ 5452462 h 5452462"/>
              <a:gd name="connsiteX6" fmla="*/ 2678589 w 4111904"/>
              <a:gd name="connsiteY6" fmla="*/ 371665 h 5452462"/>
              <a:gd name="connsiteX0" fmla="*/ 2678589 w 4120653"/>
              <a:gd name="connsiteY0" fmla="*/ 10016 h 5090813"/>
              <a:gd name="connsiteX1" fmla="*/ 3791709 w 4120653"/>
              <a:gd name="connsiteY1" fmla="*/ 0 h 5090813"/>
              <a:gd name="connsiteX2" fmla="*/ 3922803 w 4120653"/>
              <a:gd name="connsiteY2" fmla="*/ 9123 h 5090813"/>
              <a:gd name="connsiteX3" fmla="*/ 3791709 w 4120653"/>
              <a:gd name="connsiteY3" fmla="*/ 5076247 h 5090813"/>
              <a:gd name="connsiteX4" fmla="*/ 0 w 4120653"/>
              <a:gd name="connsiteY4" fmla="*/ 5090813 h 5090813"/>
              <a:gd name="connsiteX5" fmla="*/ 2678589 w 4120653"/>
              <a:gd name="connsiteY5"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2678589 w 3791709"/>
              <a:gd name="connsiteY4" fmla="*/ 10016 h 5090813"/>
              <a:gd name="connsiteX0" fmla="*/ 2678589 w 3791709"/>
              <a:gd name="connsiteY0" fmla="*/ 10016 h 5090813"/>
              <a:gd name="connsiteX1" fmla="*/ 3791709 w 3791709"/>
              <a:gd name="connsiteY1" fmla="*/ 0 h 5090813"/>
              <a:gd name="connsiteX2" fmla="*/ 3791709 w 3791709"/>
              <a:gd name="connsiteY2" fmla="*/ 5076247 h 5090813"/>
              <a:gd name="connsiteX3" fmla="*/ 0 w 3791709"/>
              <a:gd name="connsiteY3" fmla="*/ 5090813 h 5090813"/>
              <a:gd name="connsiteX4" fmla="*/ 1292731 w 3791709"/>
              <a:gd name="connsiteY4" fmla="*/ 2638265 h 5090813"/>
              <a:gd name="connsiteX5" fmla="*/ 2678589 w 3791709"/>
              <a:gd name="connsiteY5" fmla="*/ 10016 h 5090813"/>
              <a:gd name="connsiteX0" fmla="*/ 2678589 w 3791709"/>
              <a:gd name="connsiteY0" fmla="*/ 10016 h 5090813"/>
              <a:gd name="connsiteX1" fmla="*/ 3791709 w 3791709"/>
              <a:gd name="connsiteY1" fmla="*/ 0 h 5090813"/>
              <a:gd name="connsiteX2" fmla="*/ 3790798 w 3791709"/>
              <a:gd name="connsiteY2" fmla="*/ 2638265 h 5090813"/>
              <a:gd name="connsiteX3" fmla="*/ 3791709 w 3791709"/>
              <a:gd name="connsiteY3" fmla="*/ 5076247 h 5090813"/>
              <a:gd name="connsiteX4" fmla="*/ 0 w 3791709"/>
              <a:gd name="connsiteY4" fmla="*/ 5090813 h 5090813"/>
              <a:gd name="connsiteX5" fmla="*/ 1292731 w 3791709"/>
              <a:gd name="connsiteY5" fmla="*/ 2638265 h 5090813"/>
              <a:gd name="connsiteX6" fmla="*/ 2678589 w 3791709"/>
              <a:gd name="connsiteY6" fmla="*/ 10016 h 5090813"/>
              <a:gd name="connsiteX0" fmla="*/ 1292731 w 3791709"/>
              <a:gd name="connsiteY0" fmla="*/ 2638265 h 5090813"/>
              <a:gd name="connsiteX1" fmla="*/ 3791709 w 3791709"/>
              <a:gd name="connsiteY1" fmla="*/ 0 h 5090813"/>
              <a:gd name="connsiteX2" fmla="*/ 3790798 w 3791709"/>
              <a:gd name="connsiteY2" fmla="*/ 2638265 h 5090813"/>
              <a:gd name="connsiteX3" fmla="*/ 3791709 w 3791709"/>
              <a:gd name="connsiteY3" fmla="*/ 5076247 h 5090813"/>
              <a:gd name="connsiteX4" fmla="*/ 0 w 3791709"/>
              <a:gd name="connsiteY4" fmla="*/ 5090813 h 5090813"/>
              <a:gd name="connsiteX5" fmla="*/ 1292731 w 3791709"/>
              <a:gd name="connsiteY5" fmla="*/ 2638265 h 5090813"/>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1709"/>
              <a:gd name="connsiteY0" fmla="*/ 0 h 2452548"/>
              <a:gd name="connsiteX1" fmla="*/ 3790798 w 3791709"/>
              <a:gd name="connsiteY1" fmla="*/ 0 h 2452548"/>
              <a:gd name="connsiteX2" fmla="*/ 3791709 w 3791709"/>
              <a:gd name="connsiteY2" fmla="*/ 2437982 h 2452548"/>
              <a:gd name="connsiteX3" fmla="*/ 0 w 3791709"/>
              <a:gd name="connsiteY3" fmla="*/ 2452548 h 2452548"/>
              <a:gd name="connsiteX4" fmla="*/ 1292731 w 3791709"/>
              <a:gd name="connsiteY4" fmla="*/ 0 h 2452548"/>
              <a:gd name="connsiteX0" fmla="*/ 1292731 w 3795350"/>
              <a:gd name="connsiteY0" fmla="*/ 0 h 2452548"/>
              <a:gd name="connsiteX1" fmla="*/ 3790798 w 3795350"/>
              <a:gd name="connsiteY1" fmla="*/ 0 h 2452548"/>
              <a:gd name="connsiteX2" fmla="*/ 3795350 w 3795350"/>
              <a:gd name="connsiteY2" fmla="*/ 2452548 h 2452548"/>
              <a:gd name="connsiteX3" fmla="*/ 0 w 3795350"/>
              <a:gd name="connsiteY3" fmla="*/ 2452548 h 2452548"/>
              <a:gd name="connsiteX4" fmla="*/ 1292731 w 3795350"/>
              <a:gd name="connsiteY4" fmla="*/ 0 h 2452548"/>
              <a:gd name="connsiteX0" fmla="*/ 1292731 w 3795350"/>
              <a:gd name="connsiteY0" fmla="*/ 0 h 2452548"/>
              <a:gd name="connsiteX1" fmla="*/ 3779910 w 3795350"/>
              <a:gd name="connsiteY1" fmla="*/ 0 h 2452548"/>
              <a:gd name="connsiteX2" fmla="*/ 3795350 w 3795350"/>
              <a:gd name="connsiteY2" fmla="*/ 2452548 h 2452548"/>
              <a:gd name="connsiteX3" fmla="*/ 0 w 3795350"/>
              <a:gd name="connsiteY3" fmla="*/ 2452548 h 2452548"/>
              <a:gd name="connsiteX4" fmla="*/ 1292731 w 3795350"/>
              <a:gd name="connsiteY4" fmla="*/ 0 h 2452548"/>
              <a:gd name="connsiteX0" fmla="*/ 1292731 w 3795350"/>
              <a:gd name="connsiteY0" fmla="*/ 0 h 2452548"/>
              <a:gd name="connsiteX1" fmla="*/ 3779910 w 3795350"/>
              <a:gd name="connsiteY1" fmla="*/ 0 h 2452548"/>
              <a:gd name="connsiteX2" fmla="*/ 3795350 w 3795350"/>
              <a:gd name="connsiteY2" fmla="*/ 2452548 h 2452548"/>
              <a:gd name="connsiteX3" fmla="*/ 0 w 3795350"/>
              <a:gd name="connsiteY3" fmla="*/ 2452548 h 2452548"/>
              <a:gd name="connsiteX4" fmla="*/ 1292731 w 3795350"/>
              <a:gd name="connsiteY4" fmla="*/ 0 h 2452548"/>
              <a:gd name="connsiteX0" fmla="*/ 1292731 w 3784982"/>
              <a:gd name="connsiteY0" fmla="*/ 0 h 2452548"/>
              <a:gd name="connsiteX1" fmla="*/ 3779910 w 3784982"/>
              <a:gd name="connsiteY1" fmla="*/ 0 h 2452548"/>
              <a:gd name="connsiteX2" fmla="*/ 3784462 w 3784982"/>
              <a:gd name="connsiteY2" fmla="*/ 2452548 h 2452548"/>
              <a:gd name="connsiteX3" fmla="*/ 0 w 3784982"/>
              <a:gd name="connsiteY3" fmla="*/ 2452548 h 2452548"/>
              <a:gd name="connsiteX4" fmla="*/ 1292731 w 3784982"/>
              <a:gd name="connsiteY4" fmla="*/ 0 h 2452548"/>
              <a:gd name="connsiteX0" fmla="*/ 1292731 w 3784462"/>
              <a:gd name="connsiteY0" fmla="*/ 0 h 2452548"/>
              <a:gd name="connsiteX1" fmla="*/ 3779910 w 3784462"/>
              <a:gd name="connsiteY1" fmla="*/ 0 h 2452548"/>
              <a:gd name="connsiteX2" fmla="*/ 3784462 w 3784462"/>
              <a:gd name="connsiteY2" fmla="*/ 2452548 h 2452548"/>
              <a:gd name="connsiteX3" fmla="*/ 0 w 3784462"/>
              <a:gd name="connsiteY3" fmla="*/ 2452548 h 2452548"/>
              <a:gd name="connsiteX4" fmla="*/ 1292731 w 3784462"/>
              <a:gd name="connsiteY4" fmla="*/ 0 h 24525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84462" h="2452548">
                <a:moveTo>
                  <a:pt x="1292731" y="0"/>
                </a:moveTo>
                <a:lnTo>
                  <a:pt x="3779910" y="0"/>
                </a:lnTo>
                <a:cubicBezTo>
                  <a:pt x="3787630" y="1226274"/>
                  <a:pt x="3782186" y="1226274"/>
                  <a:pt x="3784462" y="2452548"/>
                </a:cubicBezTo>
                <a:lnTo>
                  <a:pt x="0" y="2452548"/>
                </a:lnTo>
                <a:lnTo>
                  <a:pt x="1292731" y="0"/>
                </a:lnTo>
                <a:close/>
              </a:path>
            </a:pathLst>
          </a:custGeom>
          <a:solidFill>
            <a:schemeClr val="bg1">
              <a:lumMod val="95000"/>
            </a:schemeClr>
          </a:solidFill>
          <a:ln>
            <a:noFill/>
          </a:ln>
        </p:spPr>
        <p:txBody>
          <a:bodyPr wrap="square" anchor="ctr">
            <a:noAutofit/>
          </a:bodyPr>
          <a:lstStyle>
            <a:lvl1pPr algn="ctr">
              <a:defRPr>
                <a:solidFill>
                  <a:schemeClr val="tx1"/>
                </a:solidFill>
              </a:defRPr>
            </a:lvl1pPr>
          </a:lstStyle>
          <a:p>
            <a:r>
              <a:rPr lang="en-US" dirty="0"/>
              <a:t>Click icon to add picture0</a:t>
            </a:r>
            <a:endParaRPr lang="en-GB" dirty="0"/>
          </a:p>
        </p:txBody>
      </p:sp>
      <p:sp>
        <p:nvSpPr>
          <p:cNvPr id="11" name="Freeform 5"/>
          <p:cNvSpPr>
            <a:spLocks/>
          </p:cNvSpPr>
          <p:nvPr userDrawn="1"/>
        </p:nvSpPr>
        <p:spPr bwMode="auto">
          <a:xfrm>
            <a:off x="3287713" y="1828799"/>
            <a:ext cx="4273550" cy="4430713"/>
          </a:xfrm>
          <a:custGeom>
            <a:avLst/>
            <a:gdLst>
              <a:gd name="T0" fmla="*/ 2692 w 2692"/>
              <a:gd name="T1" fmla="*/ 2791 h 2791"/>
              <a:gd name="T2" fmla="*/ 2692 w 2692"/>
              <a:gd name="T3" fmla="*/ 0 h 2791"/>
              <a:gd name="T4" fmla="*/ 1469 w 2692"/>
              <a:gd name="T5" fmla="*/ 0 h 2791"/>
              <a:gd name="T6" fmla="*/ 0 w 2692"/>
              <a:gd name="T7" fmla="*/ 2791 h 2791"/>
              <a:gd name="T8" fmla="*/ 2692 w 2692"/>
              <a:gd name="T9" fmla="*/ 2791 h 2791"/>
            </a:gdLst>
            <a:ahLst/>
            <a:cxnLst>
              <a:cxn ang="0">
                <a:pos x="T0" y="T1"/>
              </a:cxn>
              <a:cxn ang="0">
                <a:pos x="T2" y="T3"/>
              </a:cxn>
              <a:cxn ang="0">
                <a:pos x="T4" y="T5"/>
              </a:cxn>
              <a:cxn ang="0">
                <a:pos x="T6" y="T7"/>
              </a:cxn>
              <a:cxn ang="0">
                <a:pos x="T8" y="T9"/>
              </a:cxn>
            </a:cxnLst>
            <a:rect l="0" t="0" r="r" b="b"/>
            <a:pathLst>
              <a:path w="2692" h="2791">
                <a:moveTo>
                  <a:pt x="2692" y="2791"/>
                </a:moveTo>
                <a:lnTo>
                  <a:pt x="2692" y="0"/>
                </a:lnTo>
                <a:lnTo>
                  <a:pt x="1469" y="0"/>
                </a:lnTo>
                <a:lnTo>
                  <a:pt x="0" y="2791"/>
                </a:lnTo>
                <a:lnTo>
                  <a:pt x="2692" y="2791"/>
                </a:lnTo>
                <a:close/>
              </a:path>
            </a:pathLst>
          </a:custGeom>
          <a:solidFill>
            <a:srgbClr val="E30C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16919" y="553713"/>
            <a:ext cx="2165429" cy="595779"/>
          </a:xfrm>
          <a:prstGeom prst="rect">
            <a:avLst/>
          </a:prstGeom>
        </p:spPr>
      </p:pic>
    </p:spTree>
    <p:extLst>
      <p:ext uri="{BB962C8B-B14F-4D97-AF65-F5344CB8AC3E}">
        <p14:creationId xmlns:p14="http://schemas.microsoft.com/office/powerpoint/2010/main" val="29000361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8621804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6" name="Text Placeholder 5"/>
          <p:cNvSpPr>
            <a:spLocks noGrp="1"/>
          </p:cNvSpPr>
          <p:nvPr>
            <p:ph type="body" sz="quarter" idx="10"/>
            <p:custDataLst>
              <p:tags r:id="rId2"/>
            </p:custDataLst>
          </p:nvPr>
        </p:nvSpPr>
        <p:spPr>
          <a:xfrm>
            <a:off x="683671" y="1817689"/>
            <a:ext cx="6229892" cy="1170474"/>
          </a:xfrm>
          <a:prstGeom prst="rect">
            <a:avLst/>
          </a:prstGeo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dirty="0"/>
          </a:p>
        </p:txBody>
      </p:sp>
      <p:sp>
        <p:nvSpPr>
          <p:cNvPr id="2" name="Title 1"/>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9" name="Text Placeholder 9"/>
          <p:cNvSpPr>
            <a:spLocks noGrp="1"/>
          </p:cNvSpPr>
          <p:nvPr>
            <p:ph type="body" sz="quarter" idx="14" hasCustomPrompt="1"/>
            <p:custDataLst>
              <p:tags r:id="rId3"/>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24297072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684000" y="1817689"/>
            <a:ext cx="2987888" cy="1170474"/>
          </a:xfrm>
          <a:prstGeom prst="rect">
            <a:avLst/>
          </a:prstGeo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4"/>
          <p:cNvSpPr>
            <a:spLocks noGrp="1"/>
          </p:cNvSpPr>
          <p:nvPr>
            <p:ph type="body" sz="quarter" idx="12"/>
          </p:nvPr>
        </p:nvSpPr>
        <p:spPr>
          <a:xfrm>
            <a:off x="3889375" y="1817689"/>
            <a:ext cx="3024187" cy="1170474"/>
          </a:xfrm>
          <a:prstGeom prst="rect">
            <a:avLst/>
          </a:prstGeo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p:cNvSpPr>
            <a:spLocks noGrp="1"/>
          </p:cNvSpPr>
          <p:nvPr>
            <p:ph type="title"/>
          </p:nvPr>
        </p:nvSpPr>
        <p:spPr>
          <a:xfrm>
            <a:off x="683999" y="583281"/>
            <a:ext cx="6229563" cy="369332"/>
          </a:xfrm>
          <a:prstGeom prst="rect">
            <a:avLst/>
          </a:prstGeom>
        </p:spPr>
        <p:txBody>
          <a:bodyPr/>
          <a:lstStyle/>
          <a:p>
            <a:r>
              <a:rPr lang="en-US"/>
              <a:t>Click to edit Master title style</a:t>
            </a:r>
            <a:endParaRPr lang="en-GB"/>
          </a:p>
        </p:txBody>
      </p:sp>
      <p:sp>
        <p:nvSpPr>
          <p:cNvPr id="8" name="Text Placeholder 9"/>
          <p:cNvSpPr>
            <a:spLocks noGrp="1"/>
          </p:cNvSpPr>
          <p:nvPr>
            <p:ph type="body" sz="quarter" idx="14" hasCustomPrompt="1"/>
            <p:custDataLst>
              <p:tags r:id="rId1"/>
            </p:custDataLst>
          </p:nvPr>
        </p:nvSpPr>
        <p:spPr>
          <a:xfrm>
            <a:off x="683671" y="971663"/>
            <a:ext cx="6229562" cy="246221"/>
          </a:xfrm>
          <a:prstGeom prst="rect">
            <a:avLst/>
          </a:prstGeom>
        </p:spPr>
        <p:txBody>
          <a:bodyPr/>
          <a:lstStyle>
            <a:lvl1pPr>
              <a:lnSpc>
                <a:spcPct val="100000"/>
              </a:lnSpc>
              <a:spcAft>
                <a:spcPts val="0"/>
              </a:spcAft>
              <a:defRPr sz="1600">
                <a:solidFill>
                  <a:schemeClr val="accent1"/>
                </a:solidFill>
                <a:latin typeface="+mn-lt"/>
              </a:defRPr>
            </a:lvl1pPr>
            <a:lvl2pPr>
              <a:lnSpc>
                <a:spcPct val="100000"/>
              </a:lnSpc>
              <a:spcAft>
                <a:spcPts val="0"/>
              </a:spcAft>
              <a:defRPr sz="1600">
                <a:solidFill>
                  <a:schemeClr val="accent2"/>
                </a:solidFill>
                <a:latin typeface="+mn-lt"/>
              </a:defRPr>
            </a:lvl2pPr>
            <a:lvl3pPr>
              <a:lnSpc>
                <a:spcPct val="100000"/>
              </a:lnSpc>
              <a:spcAft>
                <a:spcPts val="0"/>
              </a:spcAft>
              <a:defRPr sz="1600">
                <a:solidFill>
                  <a:schemeClr val="accent2"/>
                </a:solidFill>
                <a:latin typeface="+mn-lt"/>
              </a:defRPr>
            </a:lvl3pPr>
            <a:lvl4pPr>
              <a:lnSpc>
                <a:spcPct val="100000"/>
              </a:lnSpc>
              <a:spcAft>
                <a:spcPts val="0"/>
              </a:spcAft>
              <a:defRPr sz="1600">
                <a:solidFill>
                  <a:schemeClr val="accent2"/>
                </a:solidFill>
                <a:latin typeface="+mn-lt"/>
              </a:defRPr>
            </a:lvl4pPr>
            <a:lvl5pPr>
              <a:lnSpc>
                <a:spcPct val="100000"/>
              </a:lnSpc>
              <a:spcAft>
                <a:spcPts val="0"/>
              </a:spcAft>
              <a:defRPr sz="1600">
                <a:solidFill>
                  <a:schemeClr val="accent2"/>
                </a:solidFill>
                <a:latin typeface="+mn-lt"/>
              </a:defRPr>
            </a:lvl5pPr>
          </a:lstStyle>
          <a:p>
            <a:pPr lvl="0"/>
            <a:r>
              <a:rPr lang="en-US" dirty="0"/>
              <a:t>Sub-heading</a:t>
            </a:r>
            <a:endParaRPr lang="en-NZ" dirty="0"/>
          </a:p>
        </p:txBody>
      </p:sp>
    </p:spTree>
    <p:extLst>
      <p:ext uri="{BB962C8B-B14F-4D97-AF65-F5344CB8AC3E}">
        <p14:creationId xmlns:p14="http://schemas.microsoft.com/office/powerpoint/2010/main" val="554847356"/>
      </p:ext>
    </p:extLst>
  </p:cSld>
  <p:clrMapOvr>
    <a:masterClrMapping/>
  </p:clrMapOvr>
  <p:extLst>
    <p:ext uri="{DCECCB84-F9BA-43D5-87BE-67443E8EF086}">
      <p15:sldGuideLst xmlns:p15="http://schemas.microsoft.com/office/powerpoint/2012/main">
        <p15:guide id="2" pos="2313">
          <p15:clr>
            <a:srgbClr val="FBAE40"/>
          </p15:clr>
        </p15:guide>
        <p15:guide id="3" pos="245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p:cNvGraphicFramePr>
          <p:nvPr>
            <p:custDataLst>
              <p:tags r:id="rId35"/>
            </p:custDataLst>
            <p:extLst>
              <p:ext uri="{D42A27DB-BD31-4B8C-83A1-F6EECF244321}">
                <p14:modId xmlns:p14="http://schemas.microsoft.com/office/powerpoint/2010/main" val="944561426"/>
              </p:ext>
            </p:extLst>
          </p:nvPr>
        </p:nvGraphicFramePr>
        <p:xfrm>
          <a:off x="0" y="0"/>
          <a:ext cx="112252" cy="224510"/>
        </p:xfrm>
        <a:graphic>
          <a:graphicData uri="http://schemas.openxmlformats.org/presentationml/2006/ole">
            <mc:AlternateContent xmlns:mc="http://schemas.openxmlformats.org/markup-compatibility/2006">
              <mc:Choice xmlns:v="urn:schemas-microsoft-com:vml" Requires="v">
                <p:oleObj name="think-cell Slide" r:id="rId36" imgW="270" imgH="270" progId="TCLayout.ActiveDocument.1">
                  <p:embed/>
                </p:oleObj>
              </mc:Choice>
              <mc:Fallback>
                <p:oleObj name="think-cell Slide" r:id="rId36" imgW="270" imgH="270" progId="TCLayout.ActiveDocument.1">
                  <p:embed/>
                  <p:pic>
                    <p:nvPicPr>
                      <p:cNvPr id="5" name="Object 4" hidden="1"/>
                      <p:cNvPicPr/>
                      <p:nvPr/>
                    </p:nvPicPr>
                    <p:blipFill>
                      <a:blip r:embed="rId37"/>
                      <a:stretch>
                        <a:fillRect/>
                      </a:stretch>
                    </p:blipFill>
                    <p:spPr>
                      <a:xfrm>
                        <a:off x="0" y="0"/>
                        <a:ext cx="112252" cy="224510"/>
                      </a:xfrm>
                      <a:prstGeom prst="rect">
                        <a:avLst/>
                      </a:prstGeom>
                    </p:spPr>
                  </p:pic>
                </p:oleObj>
              </mc:Fallback>
            </mc:AlternateContent>
          </a:graphicData>
        </a:graphic>
      </p:graphicFrame>
    </p:spTree>
    <p:extLst>
      <p:ext uri="{BB962C8B-B14F-4D97-AF65-F5344CB8AC3E}">
        <p14:creationId xmlns:p14="http://schemas.microsoft.com/office/powerpoint/2010/main" val="4161865969"/>
      </p:ext>
    </p:extLst>
  </p:cSld>
  <p:clrMap bg1="lt1" tx1="dk1" bg2="lt2" tx2="dk2" accent1="accent1" accent2="accent2" accent3="accent3" accent4="accent4" accent5="accent5" accent6="accent6" hlink="hlink" folHlink="folHlink"/>
  <p:sldLayoutIdLst>
    <p:sldLayoutId id="2147483649" r:id="rId1"/>
    <p:sldLayoutId id="2147483697" r:id="rId2"/>
    <p:sldLayoutId id="2147483698" r:id="rId3"/>
    <p:sldLayoutId id="2147483677" r:id="rId4"/>
    <p:sldLayoutId id="2147483720" r:id="rId5"/>
    <p:sldLayoutId id="2147483678" r:id="rId6"/>
    <p:sldLayoutId id="2147483711" r:id="rId7"/>
    <p:sldLayoutId id="2147483685" r:id="rId8"/>
    <p:sldLayoutId id="2147483656" r:id="rId9"/>
    <p:sldLayoutId id="2147483703" r:id="rId10"/>
    <p:sldLayoutId id="2147483713" r:id="rId11"/>
    <p:sldLayoutId id="2147483714" r:id="rId12"/>
    <p:sldLayoutId id="2147483657" r:id="rId13"/>
    <p:sldLayoutId id="2147483686" r:id="rId14"/>
    <p:sldLayoutId id="2147483688" r:id="rId15"/>
    <p:sldLayoutId id="2147483651" r:id="rId16"/>
    <p:sldLayoutId id="2147483706" r:id="rId17"/>
    <p:sldLayoutId id="2147483681" r:id="rId18"/>
    <p:sldLayoutId id="2147483704" r:id="rId19"/>
    <p:sldLayoutId id="2147483702" r:id="rId20"/>
    <p:sldLayoutId id="2147483723" r:id="rId21"/>
    <p:sldLayoutId id="2147483724" r:id="rId22"/>
    <p:sldLayoutId id="2147483715" r:id="rId23"/>
    <p:sldLayoutId id="2147483716" r:id="rId24"/>
    <p:sldLayoutId id="2147483717" r:id="rId25"/>
    <p:sldLayoutId id="2147483718" r:id="rId26"/>
    <p:sldLayoutId id="2147483708" r:id="rId27"/>
    <p:sldLayoutId id="2147483709" r:id="rId28"/>
    <p:sldLayoutId id="2147483692" r:id="rId29"/>
    <p:sldLayoutId id="2147483695" r:id="rId30"/>
    <p:sldLayoutId id="2147483696" r:id="rId31"/>
    <p:sldLayoutId id="2147483705" r:id="rId32"/>
    <p:sldLayoutId id="2147483690" r:id="rId33"/>
  </p:sldLayoutIdLst>
  <p:hf hdr="0" dt="0"/>
  <p:txStyles>
    <p:titleStyle>
      <a:lvl1pPr algn="l" defTabSz="995690" rtl="0" eaLnBrk="1" latinLnBrk="0" hangingPunct="1">
        <a:spcBef>
          <a:spcPct val="0"/>
        </a:spcBef>
        <a:buNone/>
        <a:defRPr sz="2400" b="0" kern="1200" baseline="0">
          <a:solidFill>
            <a:schemeClr val="accent6"/>
          </a:solidFill>
          <a:latin typeface="+mj-lt"/>
          <a:ea typeface="+mj-ea"/>
          <a:cs typeface="+mj-cs"/>
        </a:defRPr>
      </a:lvl1pPr>
    </p:titleStyle>
    <p:bodyStyle>
      <a:lvl1pPr marL="0" indent="0" algn="l" defTabSz="995690" rtl="0" eaLnBrk="1" latinLnBrk="0" hangingPunct="1">
        <a:lnSpc>
          <a:spcPct val="110000"/>
        </a:lnSpc>
        <a:spcBef>
          <a:spcPts val="0"/>
        </a:spcBef>
        <a:spcAft>
          <a:spcPts val="600"/>
        </a:spcAft>
        <a:buFont typeface="Arial" panose="020B0604020202020204" pitchFamily="34" charset="0"/>
        <a:buNone/>
        <a:defRPr sz="1200" b="0" kern="1200">
          <a:solidFill>
            <a:schemeClr val="tx2"/>
          </a:solidFill>
          <a:latin typeface="+mj-lt"/>
          <a:ea typeface="+mn-ea"/>
          <a:cs typeface="+mn-cs"/>
        </a:defRPr>
      </a:lvl1pPr>
      <a:lvl2pPr marL="0" indent="0" algn="l" defTabSz="995690" rtl="0" eaLnBrk="1" latinLnBrk="0" hangingPunct="1">
        <a:lnSpc>
          <a:spcPct val="110000"/>
        </a:lnSpc>
        <a:spcBef>
          <a:spcPts val="0"/>
        </a:spcBef>
        <a:spcAft>
          <a:spcPts val="600"/>
        </a:spcAft>
        <a:buFont typeface="Arial" panose="020B0604020202020204" pitchFamily="34" charset="0"/>
        <a:buNone/>
        <a:defRPr sz="900" b="0" kern="1200" baseline="0">
          <a:solidFill>
            <a:schemeClr val="tx1"/>
          </a:solidFill>
          <a:latin typeface="+mn-lt"/>
          <a:ea typeface="+mn-ea"/>
          <a:cs typeface="+mn-cs"/>
        </a:defRPr>
      </a:lvl2pPr>
      <a:lvl3pPr marL="180975"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b="0" kern="1200">
          <a:solidFill>
            <a:schemeClr val="tx1"/>
          </a:solidFill>
          <a:latin typeface="+mn-lt"/>
          <a:ea typeface="+mn-ea"/>
          <a:cs typeface="+mn-cs"/>
        </a:defRPr>
      </a:lvl3pPr>
      <a:lvl4pPr marL="360000"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kern="1200">
          <a:solidFill>
            <a:schemeClr val="tx1"/>
          </a:solidFill>
          <a:latin typeface="+mn-lt"/>
          <a:ea typeface="+mn-ea"/>
          <a:cs typeface="+mn-cs"/>
        </a:defRPr>
      </a:lvl4pPr>
      <a:lvl5pPr marL="540000" indent="-180975" algn="l" defTabSz="995690" rtl="0" eaLnBrk="1" latinLnBrk="0" hangingPunct="1">
        <a:lnSpc>
          <a:spcPct val="110000"/>
        </a:lnSpc>
        <a:spcBef>
          <a:spcPts val="0"/>
        </a:spcBef>
        <a:spcAft>
          <a:spcPts val="600"/>
        </a:spcAft>
        <a:buClr>
          <a:schemeClr val="tx1"/>
        </a:buClr>
        <a:buFont typeface="Arial" panose="020B0604020202020204" pitchFamily="34" charset="0"/>
        <a:buChar char="»"/>
        <a:defRPr sz="900" kern="1200" baseline="0">
          <a:solidFill>
            <a:schemeClr val="tx1"/>
          </a:solidFill>
          <a:latin typeface="+mn-lt"/>
          <a:ea typeface="+mn-ea"/>
          <a:cs typeface="+mn-cs"/>
        </a:defRPr>
      </a:lvl5pPr>
      <a:lvl6pPr marL="0" indent="0" algn="l" defTabSz="995690" rtl="0" eaLnBrk="1" latinLnBrk="0" hangingPunct="1">
        <a:lnSpc>
          <a:spcPct val="110000"/>
        </a:lnSpc>
        <a:spcBef>
          <a:spcPts val="0"/>
        </a:spcBef>
        <a:spcAft>
          <a:spcPts val="600"/>
        </a:spcAft>
        <a:buClr>
          <a:schemeClr val="accent5"/>
        </a:buClr>
        <a:buFont typeface="Arial" panose="020B0604020202020204" pitchFamily="34" charset="0"/>
        <a:buNone/>
        <a:defRPr sz="1000" b="0" kern="1200">
          <a:solidFill>
            <a:schemeClr val="accent1"/>
          </a:solidFill>
          <a:latin typeface="+mn-lt"/>
          <a:ea typeface="+mn-ea"/>
          <a:cs typeface="+mn-cs"/>
        </a:defRPr>
      </a:lvl6pPr>
      <a:lvl7pPr marL="177800" indent="-177800" algn="l" defTabSz="995690" rtl="0" eaLnBrk="1" latinLnBrk="0" hangingPunct="1">
        <a:lnSpc>
          <a:spcPct val="110000"/>
        </a:lnSpc>
        <a:spcBef>
          <a:spcPts val="0"/>
        </a:spcBef>
        <a:spcAft>
          <a:spcPts val="600"/>
        </a:spcAft>
        <a:buClr>
          <a:schemeClr val="tx1"/>
        </a:buClr>
        <a:buFont typeface="+mj-lt"/>
        <a:buAutoNum type="arabicPeriod"/>
        <a:defRPr sz="900" b="0" kern="1200">
          <a:solidFill>
            <a:schemeClr val="tx1"/>
          </a:solidFill>
          <a:latin typeface="+mj-lt"/>
          <a:ea typeface="+mn-ea"/>
          <a:cs typeface="+mn-cs"/>
        </a:defRPr>
      </a:lvl7pPr>
      <a:lvl8pPr marL="358775" indent="-180975" algn="l" defTabSz="995690" rtl="0" eaLnBrk="1" latinLnBrk="0" hangingPunct="1">
        <a:lnSpc>
          <a:spcPct val="110000"/>
        </a:lnSpc>
        <a:spcBef>
          <a:spcPts val="0"/>
        </a:spcBef>
        <a:spcAft>
          <a:spcPts val="600"/>
        </a:spcAft>
        <a:buClr>
          <a:schemeClr val="tx1"/>
        </a:buClr>
        <a:buFont typeface="+mj-lt"/>
        <a:buAutoNum type="alphaLcPeriod"/>
        <a:defRPr sz="900" kern="1200" baseline="0">
          <a:solidFill>
            <a:schemeClr val="tx1"/>
          </a:solidFill>
          <a:latin typeface="+mn-lt"/>
          <a:ea typeface="+mn-ea"/>
          <a:cs typeface="+mn-cs"/>
        </a:defRPr>
      </a:lvl8pPr>
      <a:lvl9pPr marL="552450" indent="-190500" algn="l" defTabSz="995690" rtl="0" eaLnBrk="1" latinLnBrk="0" hangingPunct="1">
        <a:lnSpc>
          <a:spcPct val="110000"/>
        </a:lnSpc>
        <a:spcBef>
          <a:spcPts val="0"/>
        </a:spcBef>
        <a:spcAft>
          <a:spcPts val="600"/>
        </a:spcAft>
        <a:buClr>
          <a:schemeClr val="tx1"/>
        </a:buClr>
        <a:buFont typeface="+mj-lt"/>
        <a:buAutoNum type="romanLcPeriod"/>
        <a:defRPr sz="900" kern="1200" baseline="0">
          <a:solidFill>
            <a:schemeClr val="tx1"/>
          </a:solidFill>
          <a:latin typeface="+mn-lt"/>
          <a:ea typeface="+mn-ea"/>
          <a:cs typeface="+mn-cs"/>
        </a:defRPr>
      </a:lvl9pPr>
    </p:bodyStyle>
    <p:otherStyle>
      <a:defPPr>
        <a:defRPr lang="en-US"/>
      </a:defPPr>
      <a:lvl1pPr marL="0" algn="l" defTabSz="995690" rtl="0" eaLnBrk="1" latinLnBrk="0" hangingPunct="1">
        <a:defRPr sz="2000" kern="1200">
          <a:solidFill>
            <a:schemeClr val="tx1"/>
          </a:solidFill>
          <a:latin typeface="+mn-lt"/>
          <a:ea typeface="+mn-ea"/>
          <a:cs typeface="+mn-cs"/>
        </a:defRPr>
      </a:lvl1pPr>
      <a:lvl2pPr marL="497845" algn="l" defTabSz="995690" rtl="0" eaLnBrk="1" latinLnBrk="0" hangingPunct="1">
        <a:defRPr sz="2000" kern="1200">
          <a:solidFill>
            <a:schemeClr val="tx1"/>
          </a:solidFill>
          <a:latin typeface="+mn-lt"/>
          <a:ea typeface="+mn-ea"/>
          <a:cs typeface="+mn-cs"/>
        </a:defRPr>
      </a:lvl2pPr>
      <a:lvl3pPr marL="995690" algn="l" defTabSz="995690" rtl="0" eaLnBrk="1" latinLnBrk="0" hangingPunct="1">
        <a:defRPr sz="2000" kern="1200">
          <a:solidFill>
            <a:schemeClr val="tx1"/>
          </a:solidFill>
          <a:latin typeface="+mn-lt"/>
          <a:ea typeface="+mn-ea"/>
          <a:cs typeface="+mn-cs"/>
        </a:defRPr>
      </a:lvl3pPr>
      <a:lvl4pPr marL="1493535" algn="l" defTabSz="995690" rtl="0" eaLnBrk="1" latinLnBrk="0" hangingPunct="1">
        <a:defRPr sz="2000" kern="1200">
          <a:solidFill>
            <a:schemeClr val="tx1"/>
          </a:solidFill>
          <a:latin typeface="+mn-lt"/>
          <a:ea typeface="+mn-ea"/>
          <a:cs typeface="+mn-cs"/>
        </a:defRPr>
      </a:lvl4pPr>
      <a:lvl5pPr marL="1991380" algn="l" defTabSz="995690" rtl="0" eaLnBrk="1" latinLnBrk="0" hangingPunct="1">
        <a:defRPr sz="2000" kern="1200">
          <a:solidFill>
            <a:schemeClr val="tx1"/>
          </a:solidFill>
          <a:latin typeface="+mn-lt"/>
          <a:ea typeface="+mn-ea"/>
          <a:cs typeface="+mn-cs"/>
        </a:defRPr>
      </a:lvl5pPr>
      <a:lvl6pPr marL="2489225" algn="l" defTabSz="995690" rtl="0" eaLnBrk="1" latinLnBrk="0" hangingPunct="1">
        <a:defRPr sz="2000" kern="1200">
          <a:solidFill>
            <a:schemeClr val="tx1"/>
          </a:solidFill>
          <a:latin typeface="+mn-lt"/>
          <a:ea typeface="+mn-ea"/>
          <a:cs typeface="+mn-cs"/>
        </a:defRPr>
      </a:lvl6pPr>
      <a:lvl7pPr marL="2987070" algn="l" defTabSz="995690" rtl="0" eaLnBrk="1" latinLnBrk="0" hangingPunct="1">
        <a:defRPr sz="2000" kern="1200">
          <a:solidFill>
            <a:schemeClr val="tx1"/>
          </a:solidFill>
          <a:latin typeface="+mn-lt"/>
          <a:ea typeface="+mn-ea"/>
          <a:cs typeface="+mn-cs"/>
        </a:defRPr>
      </a:lvl7pPr>
      <a:lvl8pPr marL="3484916" algn="l" defTabSz="995690" rtl="0" eaLnBrk="1" latinLnBrk="0" hangingPunct="1">
        <a:defRPr sz="2000" kern="1200">
          <a:solidFill>
            <a:schemeClr val="tx1"/>
          </a:solidFill>
          <a:latin typeface="+mn-lt"/>
          <a:ea typeface="+mn-ea"/>
          <a:cs typeface="+mn-cs"/>
        </a:defRPr>
      </a:lvl8pPr>
      <a:lvl9pPr marL="3982761" algn="l" defTabSz="995690" rtl="0" eaLnBrk="1" latinLnBrk="0" hangingPunct="1">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4" orient="horz" pos="6407">
          <p15:clr>
            <a:srgbClr val="F26B43"/>
          </p15:clr>
        </p15:guide>
        <p15:guide id="23" orient="horz" pos="1145">
          <p15:clr>
            <a:srgbClr val="F26B43"/>
          </p15:clr>
        </p15:guide>
        <p15:guide id="24" pos="431">
          <p15:clr>
            <a:srgbClr val="F26B43"/>
          </p15:clr>
        </p15:guide>
        <p15:guide id="25" pos="4355">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hyperlink" Target="mailto:Niall.Kellegher@cushwake.com" TargetMode="External"/><Relationship Id="rId3" Type="http://schemas.openxmlformats.org/officeDocument/2006/relationships/notesSlide" Target="../notesSlides/notesSlide1.xml"/><Relationship Id="rId7" Type="http://schemas.openxmlformats.org/officeDocument/2006/relationships/image" Target="../media/image9.png"/><Relationship Id="rId2" Type="http://schemas.openxmlformats.org/officeDocument/2006/relationships/slideLayout" Target="../slideLayouts/slideLayout3.xml"/><Relationship Id="rId1" Type="http://schemas.openxmlformats.org/officeDocument/2006/relationships/tags" Target="../tags/tag161.xml"/><Relationship Id="rId6" Type="http://schemas.openxmlformats.org/officeDocument/2006/relationships/hyperlink" Target="mailto:Peter.Love@cushwake.com" TargetMode="External"/><Relationship Id="rId5" Type="http://schemas.openxmlformats.org/officeDocument/2006/relationships/image" Target="../media/image1.emf"/><Relationship Id="rId10" Type="http://schemas.openxmlformats.org/officeDocument/2006/relationships/image" Target="../media/image11.png"/><Relationship Id="rId4" Type="http://schemas.openxmlformats.org/officeDocument/2006/relationships/oleObject" Target="../embeddings/oleObject27.bin"/><Relationship Id="rId9" Type="http://schemas.openxmlformats.org/officeDocument/2006/relationships/image" Target="../media/image10.png"/></Relationships>
</file>

<file path=ppt/slides/_rels/slide2.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notesSlide" Target="../notesSlides/notesSlide2.xml"/><Relationship Id="rId7" Type="http://schemas.openxmlformats.org/officeDocument/2006/relationships/image" Target="../media/image12.jpeg"/><Relationship Id="rId2" Type="http://schemas.openxmlformats.org/officeDocument/2006/relationships/slideLayout" Target="../slideLayouts/slideLayout3.xml"/><Relationship Id="rId1" Type="http://schemas.openxmlformats.org/officeDocument/2006/relationships/tags" Target="../tags/tag162.xml"/><Relationship Id="rId6" Type="http://schemas.openxmlformats.org/officeDocument/2006/relationships/image" Target="../media/image9.png"/><Relationship Id="rId11" Type="http://schemas.openxmlformats.org/officeDocument/2006/relationships/image" Target="../media/image16.jpeg"/><Relationship Id="rId5" Type="http://schemas.openxmlformats.org/officeDocument/2006/relationships/image" Target="../media/image1.emf"/><Relationship Id="rId10" Type="http://schemas.openxmlformats.org/officeDocument/2006/relationships/image" Target="../media/image15.jpeg"/><Relationship Id="rId4" Type="http://schemas.openxmlformats.org/officeDocument/2006/relationships/oleObject" Target="../embeddings/oleObject28.bin"/><Relationship Id="rId9" Type="http://schemas.openxmlformats.org/officeDocument/2006/relationships/image" Target="../media/image14.jpeg"/></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image" Target="../media/image10.png"/><Relationship Id="rId5" Type="http://schemas.openxmlformats.org/officeDocument/2006/relationships/image" Target="../media/image19.png"/><Relationship Id="rId4" Type="http://schemas.openxmlformats.org/officeDocument/2006/relationships/image" Target="../media/image1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5" name="Rectangle 4"/>
          <p:cNvSpPr/>
          <p:nvPr/>
        </p:nvSpPr>
        <p:spPr>
          <a:xfrm>
            <a:off x="416795" y="5327608"/>
            <a:ext cx="2146742" cy="338554"/>
          </a:xfrm>
          <a:prstGeom prst="rect">
            <a:avLst/>
          </a:prstGeom>
        </p:spPr>
        <p:txBody>
          <a:bodyPr wrap="none">
            <a:spAutoFit/>
          </a:bodyPr>
          <a:lstStyle/>
          <a:p>
            <a:r>
              <a:rPr lang="en-US" sz="1600" b="1" dirty="0">
                <a:solidFill>
                  <a:schemeClr val="tx2"/>
                </a:solidFill>
              </a:rPr>
              <a:t>Property Highlights </a:t>
            </a:r>
          </a:p>
        </p:txBody>
      </p:sp>
      <p:sp>
        <p:nvSpPr>
          <p:cNvPr id="7" name="Rectangle 6"/>
          <p:cNvSpPr/>
          <p:nvPr/>
        </p:nvSpPr>
        <p:spPr>
          <a:xfrm>
            <a:off x="4606753" y="5332116"/>
            <a:ext cx="947695" cy="338554"/>
          </a:xfrm>
          <a:prstGeom prst="rect">
            <a:avLst/>
          </a:prstGeom>
        </p:spPr>
        <p:txBody>
          <a:bodyPr wrap="none">
            <a:spAutoFit/>
          </a:bodyPr>
          <a:lstStyle/>
          <a:p>
            <a:r>
              <a:rPr lang="en-US" sz="1600" b="1" dirty="0">
                <a:solidFill>
                  <a:schemeClr val="tx2"/>
                </a:solidFill>
              </a:rPr>
              <a:t>Contact</a:t>
            </a:r>
            <a:endParaRPr lang="en-US" sz="1400" b="1" dirty="0">
              <a:solidFill>
                <a:schemeClr val="tx2"/>
              </a:solidFill>
            </a:endParaRPr>
          </a:p>
        </p:txBody>
      </p:sp>
      <p:sp>
        <p:nvSpPr>
          <p:cNvPr id="8" name="TextBox 7"/>
          <p:cNvSpPr txBox="1"/>
          <p:nvPr/>
        </p:nvSpPr>
        <p:spPr>
          <a:xfrm>
            <a:off x="126169" y="5670670"/>
            <a:ext cx="4404888" cy="2716128"/>
          </a:xfrm>
          <a:prstGeom prst="rect">
            <a:avLst/>
          </a:prstGeom>
          <a:noFill/>
          <a:ln>
            <a:noFill/>
          </a:ln>
          <a:effectLst/>
        </p:spPr>
        <p:txBody>
          <a:bodyPr vert="horz" wrap="square" lIns="0" tIns="0" rIns="0" bIns="0" rtlCol="0">
            <a:spAutoFit/>
          </a:bodyPr>
          <a:lstStyle/>
          <a:p>
            <a:pPr marL="342900" lvl="0" indent="-342900">
              <a:spcAft>
                <a:spcPts val="0"/>
              </a:spcAft>
              <a:buFont typeface="Symbol" panose="05050102010706020507" pitchFamily="18" charset="2"/>
              <a:buChar char=""/>
              <a:tabLst>
                <a:tab pos="457200" algn="l"/>
              </a:tabLst>
            </a:pPr>
            <a:r>
              <a:rPr lang="en-US" sz="1200" dirty="0">
                <a:highlight>
                  <a:srgbClr val="FFFFFF"/>
                </a:highlight>
                <a:ea typeface="Calibri" panose="020F0502020204030204" pitchFamily="34" charset="0"/>
              </a:rPr>
              <a:t>Excellent opportunity to acquire a commercial unit located in a prominent position on Middle Abbey Street.</a:t>
            </a:r>
          </a:p>
          <a:p>
            <a:pPr marL="342900" lvl="0" indent="-342900">
              <a:spcAft>
                <a:spcPts val="0"/>
              </a:spcAft>
              <a:buFont typeface="Symbol" panose="05050102010706020507" pitchFamily="18" charset="2"/>
              <a:buChar char=""/>
              <a:tabLst>
                <a:tab pos="457200" algn="l"/>
              </a:tabLst>
            </a:pPr>
            <a:r>
              <a:rPr lang="en-US" sz="1200" dirty="0">
                <a:highlight>
                  <a:srgbClr val="FFFFFF"/>
                </a:highlight>
                <a:ea typeface="Calibri" panose="020F0502020204030204" pitchFamily="34" charset="0"/>
              </a:rPr>
              <a:t>Middle Abbey Street is centrally located in Dublin’s City Centre characterised by its commercial vibrancy and convenient transportation links.</a:t>
            </a:r>
          </a:p>
          <a:p>
            <a:pPr marL="342900" lvl="0" indent="-342900">
              <a:spcAft>
                <a:spcPts val="0"/>
              </a:spcAft>
              <a:buFont typeface="Symbol" panose="05050102010706020507" pitchFamily="18" charset="2"/>
              <a:buChar char=""/>
              <a:tabLst>
                <a:tab pos="457200" algn="l"/>
              </a:tabLst>
            </a:pPr>
            <a:r>
              <a:rPr lang="en-US" sz="1200" dirty="0">
                <a:highlight>
                  <a:srgbClr val="FFFFFF"/>
                </a:highlight>
                <a:ea typeface="Calibri" panose="020F0502020204030204" pitchFamily="34" charset="0"/>
              </a:rPr>
              <a:t>The subject property is a mid terraced three storey over basement building.</a:t>
            </a:r>
          </a:p>
          <a:p>
            <a:pPr marL="342900" lvl="0" indent="-342900">
              <a:spcAft>
                <a:spcPts val="0"/>
              </a:spcAft>
              <a:buFont typeface="Symbol" panose="05050102010706020507" pitchFamily="18" charset="2"/>
              <a:buChar char=""/>
              <a:tabLst>
                <a:tab pos="457200" algn="l"/>
              </a:tabLst>
            </a:pPr>
            <a:r>
              <a:rPr lang="en-US" sz="1200" dirty="0">
                <a:highlight>
                  <a:srgbClr val="FFFFFF"/>
                </a:highlight>
                <a:ea typeface="Calibri" panose="020F0502020204030204" pitchFamily="34" charset="0"/>
              </a:rPr>
              <a:t>Extending to a total floor area of approx</a:t>
            </a:r>
            <a:r>
              <a:rPr lang="en-US" sz="1200" dirty="0">
                <a:ea typeface="Calibri" panose="020F0502020204030204" pitchFamily="34" charset="0"/>
              </a:rPr>
              <a:t>. 702 sq m                 (7,556 sq ft )</a:t>
            </a:r>
          </a:p>
          <a:p>
            <a:pPr marL="342900" lvl="0" indent="-342900">
              <a:spcAft>
                <a:spcPts val="0"/>
              </a:spcAft>
              <a:buFont typeface="Symbol" panose="05050102010706020507" pitchFamily="18" charset="2"/>
              <a:buChar char=""/>
              <a:tabLst>
                <a:tab pos="457200" algn="l"/>
              </a:tabLst>
            </a:pPr>
            <a:r>
              <a:rPr lang="en-US" sz="1200" dirty="0">
                <a:highlight>
                  <a:srgbClr val="FFFFFF"/>
                </a:highlight>
                <a:ea typeface="Calibri" panose="020F0502020204030204" pitchFamily="34" charset="0"/>
              </a:rPr>
              <a:t>Seeking offers in excess of </a:t>
            </a:r>
            <a:r>
              <a:rPr lang="en-US" sz="1200" dirty="0"/>
              <a:t>€</a:t>
            </a:r>
            <a:r>
              <a:rPr lang="en-US" sz="1200" dirty="0">
                <a:ea typeface="Calibri" panose="020F0502020204030204" pitchFamily="34" charset="0"/>
              </a:rPr>
              <a:t>900,000.</a:t>
            </a:r>
          </a:p>
          <a:p>
            <a:pPr marL="342900" lvl="0" indent="-342900">
              <a:spcAft>
                <a:spcPts val="0"/>
              </a:spcAft>
              <a:buFont typeface="Symbol" panose="05050102010706020507" pitchFamily="18" charset="2"/>
              <a:buChar char=""/>
              <a:tabLst>
                <a:tab pos="457200" algn="l"/>
              </a:tabLst>
            </a:pPr>
            <a:endParaRPr lang="en-US" sz="1200" dirty="0">
              <a:highlight>
                <a:srgbClr val="FFFFFF"/>
              </a:highlight>
              <a:ea typeface="Calibri" panose="020F0502020204030204" pitchFamily="34" charset="0"/>
            </a:endParaRPr>
          </a:p>
          <a:p>
            <a:pPr marL="342900" lvl="0" indent="-342900">
              <a:spcAft>
                <a:spcPts val="0"/>
              </a:spcAft>
              <a:buFont typeface="Symbol" panose="05050102010706020507" pitchFamily="18" charset="2"/>
              <a:buChar char=""/>
              <a:tabLst>
                <a:tab pos="457200" algn="l"/>
              </a:tabLst>
            </a:pPr>
            <a:endParaRPr lang="en-US" sz="1200" dirty="0">
              <a:highlight>
                <a:srgbClr val="FFFFFF"/>
              </a:highlight>
              <a:ea typeface="Calibri" panose="020F0502020204030204" pitchFamily="34" charset="0"/>
            </a:endParaRPr>
          </a:p>
          <a:p>
            <a:pPr marL="342900" lvl="0" indent="-342900">
              <a:spcAft>
                <a:spcPts val="0"/>
              </a:spcAft>
              <a:buFont typeface="Symbol" panose="05050102010706020507" pitchFamily="18" charset="2"/>
              <a:buChar char=""/>
              <a:tabLst>
                <a:tab pos="457200" algn="l"/>
              </a:tabLst>
            </a:pPr>
            <a:endParaRPr lang="en-US" sz="1200" dirty="0">
              <a:ea typeface="Calibri" panose="020F0502020204030204" pitchFamily="34" charset="0"/>
            </a:endParaRPr>
          </a:p>
          <a:p>
            <a:pPr marL="342900" lvl="0" indent="-342900">
              <a:spcAft>
                <a:spcPts val="0"/>
              </a:spcAft>
              <a:buFont typeface="Symbol" panose="05050102010706020507" pitchFamily="18" charset="2"/>
              <a:buChar char=""/>
              <a:tabLst>
                <a:tab pos="457200" algn="l"/>
              </a:tabLst>
            </a:pPr>
            <a:endParaRPr lang="en-IE" sz="1050" dirty="0">
              <a:ea typeface="Calibri" panose="020F0502020204030204" pitchFamily="34" charset="0"/>
            </a:endParaRPr>
          </a:p>
          <a:p>
            <a:pPr marL="342900" lvl="0" indent="-342900">
              <a:spcAft>
                <a:spcPts val="0"/>
              </a:spcAft>
              <a:buFont typeface="Symbol" panose="05050102010706020507" pitchFamily="18" charset="2"/>
              <a:buChar char=""/>
              <a:tabLst>
                <a:tab pos="457200" algn="l"/>
              </a:tabLst>
            </a:pPr>
            <a:endParaRPr lang="en-IE" sz="1000" dirty="0">
              <a:ea typeface="Times New Roman" panose="02020603050405020304" pitchFamily="18" charset="0"/>
            </a:endParaRPr>
          </a:p>
        </p:txBody>
      </p:sp>
      <p:sp>
        <p:nvSpPr>
          <p:cNvPr id="11" name="TextBox 10"/>
          <p:cNvSpPr txBox="1"/>
          <p:nvPr/>
        </p:nvSpPr>
        <p:spPr>
          <a:xfrm>
            <a:off x="5860112" y="10367365"/>
            <a:ext cx="2822713" cy="187424"/>
          </a:xfrm>
          <a:prstGeom prst="rect">
            <a:avLst/>
          </a:prstGeom>
          <a:noFill/>
          <a:ln>
            <a:noFill/>
          </a:ln>
          <a:effectLst/>
        </p:spPr>
        <p:txBody>
          <a:bodyPr vert="horz" wrap="square" lIns="0" tIns="0" rIns="0" bIns="0" rtlCol="0">
            <a:spAutoFit/>
          </a:bodyPr>
          <a:lstStyle/>
          <a:p>
            <a:pPr>
              <a:lnSpc>
                <a:spcPct val="110000"/>
              </a:lnSpc>
            </a:pPr>
            <a:r>
              <a:rPr lang="en-GB" sz="1200" b="1" dirty="0"/>
              <a:t>cushmanwakfield.ie</a:t>
            </a:r>
            <a:endParaRPr lang="en-US" sz="1200" b="1" dirty="0"/>
          </a:p>
        </p:txBody>
      </p:sp>
      <p:sp>
        <p:nvSpPr>
          <p:cNvPr id="10" name="TextBox 9"/>
          <p:cNvSpPr txBox="1"/>
          <p:nvPr/>
        </p:nvSpPr>
        <p:spPr>
          <a:xfrm>
            <a:off x="4712621" y="5673583"/>
            <a:ext cx="2764503" cy="738664"/>
          </a:xfrm>
          <a:prstGeom prst="rect">
            <a:avLst/>
          </a:prstGeom>
          <a:noFill/>
          <a:ln>
            <a:noFill/>
          </a:ln>
          <a:effectLst/>
        </p:spPr>
        <p:txBody>
          <a:bodyPr vert="horz" wrap="square" lIns="0" tIns="0" rIns="0" bIns="0" rtlCol="0">
            <a:spAutoFit/>
          </a:bodyPr>
          <a:lstStyle/>
          <a:p>
            <a:r>
              <a:rPr lang="en-GB" sz="1200" b="1" dirty="0">
                <a:highlight>
                  <a:srgbClr val="FFFFFF"/>
                </a:highlight>
              </a:rPr>
              <a:t>Peter Love</a:t>
            </a:r>
          </a:p>
          <a:p>
            <a:r>
              <a:rPr lang="en-GB" sz="1200" dirty="0">
                <a:highlight>
                  <a:srgbClr val="FFFFFF"/>
                </a:highlight>
              </a:rPr>
              <a:t>Email: </a:t>
            </a:r>
            <a:r>
              <a:rPr lang="en-GB" sz="1200" dirty="0">
                <a:highlight>
                  <a:srgbClr val="FFFFFF"/>
                </a:highlight>
                <a:hlinkClick r:id="rId6"/>
              </a:rPr>
              <a:t>Peter.Love@cushwake.com</a:t>
            </a:r>
            <a:r>
              <a:rPr lang="en-GB" sz="1200" dirty="0">
                <a:highlight>
                  <a:srgbClr val="FFFFFF"/>
                </a:highlight>
              </a:rPr>
              <a:t>   </a:t>
            </a:r>
          </a:p>
          <a:p>
            <a:r>
              <a:rPr lang="en-GB" sz="1200" dirty="0">
                <a:highlight>
                  <a:srgbClr val="FFFFFF"/>
                </a:highlight>
              </a:rPr>
              <a:t>Tel: +353 1 639 9612</a:t>
            </a:r>
          </a:p>
          <a:p>
            <a:endParaRPr lang="en-GB" sz="1200" dirty="0"/>
          </a:p>
        </p:txBody>
      </p:sp>
      <p:sp>
        <p:nvSpPr>
          <p:cNvPr id="18" name="TextBox 17"/>
          <p:cNvSpPr txBox="1"/>
          <p:nvPr/>
        </p:nvSpPr>
        <p:spPr>
          <a:xfrm>
            <a:off x="126169" y="73456"/>
            <a:ext cx="5156714" cy="1356975"/>
          </a:xfrm>
          <a:prstGeom prst="rect">
            <a:avLst/>
          </a:prstGeom>
          <a:noFill/>
          <a:ln>
            <a:noFill/>
          </a:ln>
          <a:effectLst/>
        </p:spPr>
        <p:txBody>
          <a:bodyPr vert="horz" wrap="square" lIns="0" tIns="0" rIns="0" bIns="0" rtlCol="0">
            <a:spAutoFit/>
          </a:bodyPr>
          <a:lstStyle/>
          <a:p>
            <a:pPr marL="0">
              <a:spcBef>
                <a:spcPts val="1200"/>
              </a:spcBef>
              <a:spcAft>
                <a:spcPts val="1200"/>
              </a:spcAft>
            </a:pPr>
            <a:r>
              <a:rPr lang="en-IE" sz="2400" b="1" dirty="0">
                <a:solidFill>
                  <a:schemeClr val="bg1"/>
                </a:solidFill>
              </a:rPr>
              <a:t>Freehold Opportunity: For Sale by Private Treaty</a:t>
            </a:r>
            <a:endParaRPr lang="en-IE" sz="2400" b="1" kern="1200" dirty="0">
              <a:solidFill>
                <a:schemeClr val="bg1"/>
              </a:solidFill>
              <a:effectLst/>
              <a:latin typeface="+mn-lt"/>
              <a:ea typeface="+mn-ea"/>
              <a:cs typeface="+mn-cs"/>
            </a:endParaRPr>
          </a:p>
          <a:p>
            <a:r>
              <a:rPr lang="en-US" sz="1800" dirty="0">
                <a:solidFill>
                  <a:schemeClr val="bg1"/>
                </a:solidFill>
                <a:highlight>
                  <a:srgbClr val="E4002B"/>
                </a:highlight>
              </a:rPr>
              <a:t>108-109 Middle Abbey Street</a:t>
            </a:r>
            <a:r>
              <a:rPr lang="en-US" sz="1800" b="0" kern="1200" dirty="0">
                <a:solidFill>
                  <a:schemeClr val="bg1"/>
                </a:solidFill>
                <a:effectLst/>
                <a:highlight>
                  <a:srgbClr val="E4002B"/>
                </a:highlight>
                <a:latin typeface="+mn-lt"/>
                <a:ea typeface="+mn-ea"/>
                <a:cs typeface="+mn-cs"/>
              </a:rPr>
              <a:t>, Dublin </a:t>
            </a:r>
            <a:r>
              <a:rPr lang="en-US" sz="1800" dirty="0">
                <a:solidFill>
                  <a:schemeClr val="bg1"/>
                </a:solidFill>
                <a:highlight>
                  <a:srgbClr val="E4002B"/>
                </a:highlight>
              </a:rPr>
              <a:t>1</a:t>
            </a:r>
            <a:r>
              <a:rPr lang="en-US" sz="1800" b="0" kern="1200" dirty="0">
                <a:solidFill>
                  <a:schemeClr val="bg1"/>
                </a:solidFill>
                <a:effectLst/>
                <a:highlight>
                  <a:srgbClr val="E4002B"/>
                </a:highlight>
                <a:latin typeface="+mn-lt"/>
                <a:ea typeface="+mn-ea"/>
                <a:cs typeface="+mn-cs"/>
              </a:rPr>
              <a:t>.</a:t>
            </a:r>
            <a:endParaRPr lang="en-US" sz="1800" b="0" kern="1200" dirty="0">
              <a:solidFill>
                <a:schemeClr val="tx1"/>
              </a:solidFill>
              <a:effectLst/>
              <a:highlight>
                <a:srgbClr val="E4002B"/>
              </a:highlight>
              <a:latin typeface="+mn-lt"/>
              <a:ea typeface="+mn-ea"/>
              <a:cs typeface="+mn-cs"/>
            </a:endParaRPr>
          </a:p>
          <a:p>
            <a:pPr>
              <a:lnSpc>
                <a:spcPct val="110000"/>
              </a:lnSpc>
            </a:pPr>
            <a:endParaRPr lang="en-US" sz="1200" dirty="0"/>
          </a:p>
        </p:txBody>
      </p:sp>
      <p:pic>
        <p:nvPicPr>
          <p:cNvPr id="101741" name="Picture 365">
            <a:extLst>
              <a:ext uri="{FF2B5EF4-FFF2-40B4-BE49-F238E27FC236}">
                <a16:creationId xmlns:a16="http://schemas.microsoft.com/office/drawing/2014/main" id="{8694260A-182D-44E8-ACC2-637777A9C9A8}"/>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607840" y="199768"/>
            <a:ext cx="1697702" cy="943128"/>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54E81D94-011D-8DB5-4278-FD7362A6134B}"/>
              </a:ext>
            </a:extLst>
          </p:cNvPr>
          <p:cNvSpPr/>
          <p:nvPr/>
        </p:nvSpPr>
        <p:spPr>
          <a:xfrm>
            <a:off x="-2" y="9986315"/>
            <a:ext cx="7561263" cy="719963"/>
          </a:xfrm>
          <a:prstGeom prst="rect">
            <a:avLst/>
          </a:prstGeom>
          <a:solidFill>
            <a:srgbClr val="E4002B"/>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US" sz="1200" dirty="0">
              <a:solidFill>
                <a:schemeClr val="bg1"/>
              </a:solidFill>
            </a:endParaRPr>
          </a:p>
        </p:txBody>
      </p:sp>
      <p:sp>
        <p:nvSpPr>
          <p:cNvPr id="12" name="TextBox 11">
            <a:extLst>
              <a:ext uri="{FF2B5EF4-FFF2-40B4-BE49-F238E27FC236}">
                <a16:creationId xmlns:a16="http://schemas.microsoft.com/office/drawing/2014/main" id="{E1B240B3-24FE-1AD1-2598-DF024ECBC9CD}"/>
              </a:ext>
            </a:extLst>
          </p:cNvPr>
          <p:cNvSpPr txBox="1"/>
          <p:nvPr/>
        </p:nvSpPr>
        <p:spPr>
          <a:xfrm>
            <a:off x="5852224" y="10196458"/>
            <a:ext cx="2822713" cy="187424"/>
          </a:xfrm>
          <a:prstGeom prst="rect">
            <a:avLst/>
          </a:prstGeom>
          <a:noFill/>
          <a:ln>
            <a:noFill/>
          </a:ln>
          <a:effectLst/>
        </p:spPr>
        <p:txBody>
          <a:bodyPr vert="horz" wrap="square" lIns="0" tIns="0" rIns="0" bIns="0" rtlCol="0">
            <a:spAutoFit/>
          </a:bodyPr>
          <a:lstStyle/>
          <a:p>
            <a:pPr>
              <a:lnSpc>
                <a:spcPct val="110000"/>
              </a:lnSpc>
            </a:pPr>
            <a:r>
              <a:rPr lang="en-GB" sz="1200" b="1" dirty="0">
                <a:solidFill>
                  <a:schemeClr val="bg1"/>
                </a:solidFill>
              </a:rPr>
              <a:t>cushmanwakfield.ie</a:t>
            </a:r>
            <a:endParaRPr lang="en-US" sz="1200" b="1" dirty="0">
              <a:solidFill>
                <a:schemeClr val="bg1"/>
              </a:solidFill>
            </a:endParaRPr>
          </a:p>
        </p:txBody>
      </p:sp>
      <p:sp>
        <p:nvSpPr>
          <p:cNvPr id="13" name="TextBox 12">
            <a:extLst>
              <a:ext uri="{FF2B5EF4-FFF2-40B4-BE49-F238E27FC236}">
                <a16:creationId xmlns:a16="http://schemas.microsoft.com/office/drawing/2014/main" id="{2794FB89-B915-213F-3DC3-A491B07952BD}"/>
              </a:ext>
            </a:extLst>
          </p:cNvPr>
          <p:cNvSpPr txBox="1"/>
          <p:nvPr/>
        </p:nvSpPr>
        <p:spPr>
          <a:xfrm>
            <a:off x="4712621" y="6399790"/>
            <a:ext cx="3523840" cy="2588081"/>
          </a:xfrm>
          <a:prstGeom prst="rect">
            <a:avLst/>
          </a:prstGeom>
          <a:noFill/>
          <a:ln>
            <a:noFill/>
          </a:ln>
          <a:effectLst/>
        </p:spPr>
        <p:txBody>
          <a:bodyPr vert="horz" wrap="square" lIns="0" tIns="0" rIns="0" bIns="0" rtlCol="0">
            <a:spAutoFit/>
          </a:bodyPr>
          <a:lstStyle/>
          <a:p>
            <a:r>
              <a:rPr lang="en-GB" sz="1200" b="1" dirty="0">
                <a:highlight>
                  <a:srgbClr val="FFFFFF"/>
                </a:highlight>
              </a:rPr>
              <a:t>Niall Kellegher</a:t>
            </a:r>
          </a:p>
          <a:p>
            <a:r>
              <a:rPr lang="en-GB" sz="1200" dirty="0">
                <a:highlight>
                  <a:srgbClr val="FFFFFF"/>
                </a:highlight>
              </a:rPr>
              <a:t>Email: </a:t>
            </a:r>
            <a:r>
              <a:rPr lang="en-GB" sz="1200" dirty="0">
                <a:highlight>
                  <a:srgbClr val="FFFFFF"/>
                </a:highlight>
                <a:hlinkClick r:id="rId8"/>
              </a:rPr>
              <a:t>Niall.Kellegher@cushwake.com</a:t>
            </a:r>
            <a:r>
              <a:rPr lang="en-GB" sz="1200" dirty="0">
                <a:highlight>
                  <a:srgbClr val="FFFFFF"/>
                </a:highlight>
              </a:rPr>
              <a:t> </a:t>
            </a:r>
          </a:p>
          <a:p>
            <a:r>
              <a:rPr lang="en-GB" sz="1200" dirty="0">
                <a:highlight>
                  <a:srgbClr val="FFFFFF"/>
                </a:highlight>
              </a:rPr>
              <a:t>Tel:+353 1 639 9683</a:t>
            </a:r>
          </a:p>
          <a:p>
            <a:endParaRPr lang="en-GB" sz="1200" dirty="0">
              <a:highlight>
                <a:srgbClr val="FFFFFF"/>
              </a:highlight>
            </a:endParaRPr>
          </a:p>
          <a:p>
            <a:endParaRPr lang="en-GB" sz="1200" dirty="0">
              <a:highlight>
                <a:srgbClr val="FFFFFF"/>
              </a:highlight>
            </a:endParaRPr>
          </a:p>
          <a:p>
            <a:endParaRPr lang="en-GB" sz="1200" dirty="0">
              <a:highlight>
                <a:srgbClr val="FFFFFF"/>
              </a:highlight>
            </a:endParaRPr>
          </a:p>
          <a:p>
            <a:endParaRPr lang="en-GB" sz="1200" dirty="0">
              <a:highlight>
                <a:srgbClr val="FFFFFF"/>
              </a:highlight>
            </a:endParaRPr>
          </a:p>
          <a:p>
            <a:r>
              <a:rPr lang="en-GB" sz="1200" dirty="0">
                <a:highlight>
                  <a:srgbClr val="FFFFFF"/>
                </a:highlight>
              </a:rPr>
              <a:t>Cushman &amp; Wakefield</a:t>
            </a:r>
          </a:p>
          <a:p>
            <a:r>
              <a:rPr lang="en-GB" sz="1200" dirty="0">
                <a:highlight>
                  <a:srgbClr val="FFFFFF"/>
                </a:highlight>
              </a:rPr>
              <a:t>164 Shelbourne Road</a:t>
            </a:r>
          </a:p>
          <a:p>
            <a:r>
              <a:rPr lang="en-GB" sz="1200" dirty="0">
                <a:highlight>
                  <a:srgbClr val="FFFFFF"/>
                </a:highlight>
              </a:rPr>
              <a:t>Ballsbridge,</a:t>
            </a:r>
          </a:p>
          <a:p>
            <a:r>
              <a:rPr lang="en-GB" sz="1200" dirty="0">
                <a:highlight>
                  <a:srgbClr val="FFFFFF"/>
                </a:highlight>
              </a:rPr>
              <a:t>Dublin 4 </a:t>
            </a:r>
          </a:p>
          <a:p>
            <a:r>
              <a:rPr lang="en-GB" sz="1200" dirty="0">
                <a:highlight>
                  <a:srgbClr val="FFFFFF"/>
                </a:highlight>
              </a:rPr>
              <a:t>Ireland </a:t>
            </a:r>
          </a:p>
          <a:p>
            <a:r>
              <a:rPr lang="en-GB" sz="1200" dirty="0">
                <a:highlight>
                  <a:srgbClr val="FFFFFF"/>
                </a:highlight>
              </a:rPr>
              <a:t>Tel: +353 (0)1 639 9300</a:t>
            </a:r>
          </a:p>
          <a:p>
            <a:pPr>
              <a:lnSpc>
                <a:spcPct val="110000"/>
              </a:lnSpc>
            </a:pPr>
            <a:endParaRPr lang="en-US" sz="1200" dirty="0"/>
          </a:p>
        </p:txBody>
      </p:sp>
      <p:sp>
        <p:nvSpPr>
          <p:cNvPr id="3" name="TextBox 2">
            <a:extLst>
              <a:ext uri="{FF2B5EF4-FFF2-40B4-BE49-F238E27FC236}">
                <a16:creationId xmlns:a16="http://schemas.microsoft.com/office/drawing/2014/main" id="{DBB82623-73E8-4AD0-4D21-1E528FC2EEC8}"/>
              </a:ext>
            </a:extLst>
          </p:cNvPr>
          <p:cNvSpPr txBox="1"/>
          <p:nvPr/>
        </p:nvSpPr>
        <p:spPr>
          <a:xfrm>
            <a:off x="460349" y="7584916"/>
            <a:ext cx="2103188" cy="249812"/>
          </a:xfrm>
          <a:prstGeom prst="rect">
            <a:avLst/>
          </a:prstGeom>
          <a:noFill/>
          <a:ln>
            <a:noFill/>
          </a:ln>
          <a:effectLst/>
        </p:spPr>
        <p:txBody>
          <a:bodyPr vert="horz" wrap="square" lIns="0" tIns="0" rIns="0" bIns="0" rtlCol="0">
            <a:spAutoFit/>
          </a:bodyPr>
          <a:lstStyle/>
          <a:p>
            <a:pPr>
              <a:lnSpc>
                <a:spcPct val="110000"/>
              </a:lnSpc>
            </a:pPr>
            <a:r>
              <a:rPr lang="en-IE" sz="1600" b="1" dirty="0">
                <a:solidFill>
                  <a:schemeClr val="tx2"/>
                </a:solidFill>
              </a:rPr>
              <a:t>Property Description</a:t>
            </a:r>
          </a:p>
        </p:txBody>
      </p:sp>
      <p:sp>
        <p:nvSpPr>
          <p:cNvPr id="15" name="TextBox 14">
            <a:extLst>
              <a:ext uri="{FF2B5EF4-FFF2-40B4-BE49-F238E27FC236}">
                <a16:creationId xmlns:a16="http://schemas.microsoft.com/office/drawing/2014/main" id="{DF1757C2-C089-79B1-01EF-BDED5407219F}"/>
              </a:ext>
            </a:extLst>
          </p:cNvPr>
          <p:cNvSpPr txBox="1"/>
          <p:nvPr/>
        </p:nvSpPr>
        <p:spPr>
          <a:xfrm>
            <a:off x="421639" y="7663295"/>
            <a:ext cx="3893355" cy="2530373"/>
          </a:xfrm>
          <a:prstGeom prst="rect">
            <a:avLst/>
          </a:prstGeom>
          <a:noFill/>
          <a:ln>
            <a:noFill/>
          </a:ln>
          <a:effectLst/>
        </p:spPr>
        <p:txBody>
          <a:bodyPr vert="horz" wrap="square" lIns="0" tIns="0" rIns="0" bIns="0" rtlCol="0">
            <a:spAutoFit/>
          </a:bodyPr>
          <a:lstStyle/>
          <a:p>
            <a:pPr marL="0" marR="0">
              <a:lnSpc>
                <a:spcPct val="115000"/>
              </a:lnSpc>
              <a:spcBef>
                <a:spcPts val="0"/>
              </a:spcBef>
              <a:spcAft>
                <a:spcPts val="0"/>
              </a:spcAft>
            </a:pPr>
            <a:r>
              <a:rPr lang="en-GB" sz="1200" dirty="0">
                <a:solidFill>
                  <a:srgbClr val="696B6B"/>
                </a:solidFill>
                <a:effectLst/>
                <a:latin typeface="Arial" panose="020B0604020202020204" pitchFamily="34" charset="0"/>
                <a:ea typeface="Times New Roman" panose="02020603050405020304" pitchFamily="18" charset="0"/>
                <a:cs typeface="Times New Roman" panose="02020603050405020304" pitchFamily="18" charset="0"/>
              </a:rPr>
              <a:t> </a:t>
            </a:r>
            <a:endParaRPr lang="en-US" sz="1200" dirty="0">
              <a:latin typeface="Arial" panose="020B0604020202020204" pitchFamily="34" charset="0"/>
              <a:ea typeface="Times New Roman" panose="02020603050405020304" pitchFamily="18" charset="0"/>
              <a:cs typeface="Times New Roman" panose="02020603050405020304" pitchFamily="18" charset="0"/>
            </a:endParaRPr>
          </a:p>
          <a:p>
            <a:pPr marL="0" marR="0">
              <a:lnSpc>
                <a:spcPct val="115000"/>
              </a:lnSpc>
              <a:spcBef>
                <a:spcPts val="0"/>
              </a:spcBef>
              <a:spcAft>
                <a:spcPts val="0"/>
              </a:spcAft>
            </a:pPr>
            <a:r>
              <a:rPr lang="en-GB" sz="1200" dirty="0">
                <a:solidFill>
                  <a:srgbClr val="696B6B"/>
                </a:solidFill>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108-109 Middle Abbey Street comprises a distinctive </a:t>
            </a:r>
            <a:r>
              <a:rPr lang="en-GB" sz="1200" dirty="0">
                <a:solidFill>
                  <a:srgbClr val="696B6B"/>
                </a:solidFill>
                <a:highlight>
                  <a:srgbClr val="FFFFFF"/>
                </a:highlight>
                <a:latin typeface="Arial" panose="020B0604020202020204" pitchFamily="34" charset="0"/>
                <a:ea typeface="Times New Roman" panose="02020603050405020304" pitchFamily="18" charset="0"/>
                <a:cs typeface="Times New Roman" panose="02020603050405020304" pitchFamily="18" charset="0"/>
              </a:rPr>
              <a:t>three storey building over a concealed basement.</a:t>
            </a:r>
          </a:p>
          <a:p>
            <a:pPr marL="0" marR="0">
              <a:lnSpc>
                <a:spcPct val="115000"/>
              </a:lnSpc>
              <a:spcBef>
                <a:spcPts val="0"/>
              </a:spcBef>
              <a:spcAft>
                <a:spcPts val="0"/>
              </a:spcAft>
            </a:pPr>
            <a:r>
              <a:rPr lang="en-GB" sz="1200" dirty="0">
                <a:solidFill>
                  <a:srgbClr val="696B6B"/>
                </a:solidFill>
                <a:highlight>
                  <a:srgbClr val="FFFFFF"/>
                </a:highlight>
                <a:latin typeface="Arial" panose="020B0604020202020204" pitchFamily="34" charset="0"/>
                <a:ea typeface="Times New Roman" panose="02020603050405020304" pitchFamily="18" charset="0"/>
                <a:cs typeface="Times New Roman" panose="02020603050405020304" pitchFamily="18" charset="0"/>
              </a:rPr>
              <a:t>The unit is currently in </a:t>
            </a:r>
            <a:r>
              <a:rPr lang="en-GB" sz="1200" dirty="0">
                <a:solidFill>
                  <a:srgbClr val="696B6B"/>
                </a:solidFill>
                <a:latin typeface="Arial" panose="020B0604020202020204" pitchFamily="34" charset="0"/>
                <a:ea typeface="Times New Roman" panose="02020603050405020304" pitchFamily="18" charset="0"/>
                <a:cs typeface="Times New Roman" panose="02020603050405020304" pitchFamily="18" charset="0"/>
              </a:rPr>
              <a:t>vacant possession </a:t>
            </a:r>
            <a:r>
              <a:rPr lang="en-GB" sz="1200" dirty="0">
                <a:solidFill>
                  <a:srgbClr val="696B6B"/>
                </a:solidFill>
                <a:highlight>
                  <a:srgbClr val="FFFFFF"/>
                </a:highlight>
                <a:latin typeface="Arial" panose="020B0604020202020204" pitchFamily="34" charset="0"/>
                <a:ea typeface="Times New Roman" panose="02020603050405020304" pitchFamily="18" charset="0"/>
                <a:cs typeface="Times New Roman" panose="02020603050405020304" pitchFamily="18" charset="0"/>
              </a:rPr>
              <a:t>and was formerly occupied by Base Camp. The fit out has since been removed. </a:t>
            </a:r>
          </a:p>
          <a:p>
            <a:pPr marL="0" marR="0">
              <a:lnSpc>
                <a:spcPct val="115000"/>
              </a:lnSpc>
              <a:spcBef>
                <a:spcPts val="0"/>
              </a:spcBef>
              <a:spcAft>
                <a:spcPts val="0"/>
              </a:spcAft>
            </a:pPr>
            <a:r>
              <a:rPr lang="en-GB" sz="1200" dirty="0">
                <a:solidFill>
                  <a:srgbClr val="696B6B"/>
                </a:solidFill>
                <a:highlight>
                  <a:srgbClr val="FFFFFF"/>
                </a:highlight>
                <a:latin typeface="Arial" panose="020B0604020202020204" pitchFamily="34" charset="0"/>
                <a:ea typeface="Times New Roman" panose="02020603050405020304" pitchFamily="18" charset="0"/>
                <a:cs typeface="Times New Roman" panose="02020603050405020304" pitchFamily="18" charset="0"/>
              </a:rPr>
              <a:t>E</a:t>
            </a:r>
            <a:r>
              <a:rPr lang="en-GB" sz="1200" dirty="0">
                <a:solidFill>
                  <a:srgbClr val="696B6B"/>
                </a:solidFill>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rPr>
              <a:t>xtendi</a:t>
            </a:r>
            <a:r>
              <a:rPr lang="en-GB" sz="1200" dirty="0">
                <a:solidFill>
                  <a:srgbClr val="696B6B"/>
                </a:solidFill>
                <a:highlight>
                  <a:srgbClr val="FFFFFF"/>
                </a:highlight>
                <a:latin typeface="Arial" panose="020B0604020202020204" pitchFamily="34" charset="0"/>
                <a:ea typeface="Times New Roman" panose="02020603050405020304" pitchFamily="18" charset="0"/>
                <a:cs typeface="Times New Roman" panose="02020603050405020304" pitchFamily="18" charset="0"/>
              </a:rPr>
              <a:t>ng to a total floor area </a:t>
            </a:r>
            <a:r>
              <a:rPr lang="en-GB" sz="1200" dirty="0">
                <a:solidFill>
                  <a:srgbClr val="696B6B"/>
                </a:solidFill>
                <a:latin typeface="Arial" panose="020B0604020202020204" pitchFamily="34" charset="0"/>
                <a:ea typeface="Times New Roman" panose="02020603050405020304" pitchFamily="18" charset="0"/>
                <a:cs typeface="Times New Roman" panose="02020603050405020304" pitchFamily="18" charset="0"/>
              </a:rPr>
              <a:t>of 702 </a:t>
            </a:r>
            <a:r>
              <a:rPr lang="en-GB" sz="1200" dirty="0" err="1">
                <a:solidFill>
                  <a:srgbClr val="696B6B"/>
                </a:solidFill>
                <a:latin typeface="Arial" panose="020B0604020202020204" pitchFamily="34" charset="0"/>
                <a:ea typeface="Times New Roman" panose="02020603050405020304" pitchFamily="18" charset="0"/>
                <a:cs typeface="Times New Roman" panose="02020603050405020304" pitchFamily="18" charset="0"/>
              </a:rPr>
              <a:t>sq</a:t>
            </a:r>
            <a:r>
              <a:rPr lang="en-GB" sz="1200" dirty="0">
                <a:solidFill>
                  <a:srgbClr val="696B6B"/>
                </a:solidFill>
                <a:latin typeface="Arial" panose="020B0604020202020204" pitchFamily="34" charset="0"/>
                <a:ea typeface="Times New Roman" panose="02020603050405020304" pitchFamily="18" charset="0"/>
                <a:cs typeface="Times New Roman" panose="02020603050405020304" pitchFamily="18" charset="0"/>
              </a:rPr>
              <a:t> m (7,556 </a:t>
            </a:r>
            <a:r>
              <a:rPr lang="en-GB" sz="1200" dirty="0" err="1">
                <a:solidFill>
                  <a:srgbClr val="696B6B"/>
                </a:solidFill>
                <a:latin typeface="Arial" panose="020B0604020202020204" pitchFamily="34" charset="0"/>
                <a:ea typeface="Times New Roman" panose="02020603050405020304" pitchFamily="18" charset="0"/>
                <a:cs typeface="Times New Roman" panose="02020603050405020304" pitchFamily="18" charset="0"/>
              </a:rPr>
              <a:t>sq</a:t>
            </a:r>
            <a:r>
              <a:rPr lang="en-GB" sz="1200" dirty="0">
                <a:solidFill>
                  <a:srgbClr val="696B6B"/>
                </a:solidFill>
                <a:latin typeface="Arial" panose="020B0604020202020204" pitchFamily="34" charset="0"/>
                <a:ea typeface="Times New Roman" panose="02020603050405020304" pitchFamily="18" charset="0"/>
                <a:cs typeface="Times New Roman" panose="02020603050405020304" pitchFamily="18" charset="0"/>
              </a:rPr>
              <a:t> ft.). </a:t>
            </a:r>
            <a:r>
              <a:rPr lang="en-GB" sz="1200" dirty="0">
                <a:solidFill>
                  <a:srgbClr val="696B6B"/>
                </a:solidFill>
                <a:highlight>
                  <a:srgbClr val="FFFFFF"/>
                </a:highlight>
                <a:latin typeface="Arial" panose="020B0604020202020204" pitchFamily="34" charset="0"/>
                <a:ea typeface="Times New Roman" panose="02020603050405020304" pitchFamily="18" charset="0"/>
                <a:cs typeface="Times New Roman" panose="02020603050405020304" pitchFamily="18" charset="0"/>
              </a:rPr>
              <a:t>The first floor boasts an expansive layout, complete with a mezzanine area suitable for a variety of uses. </a:t>
            </a:r>
          </a:p>
          <a:p>
            <a:pPr marL="0" marR="0">
              <a:lnSpc>
                <a:spcPct val="115000"/>
              </a:lnSpc>
              <a:spcBef>
                <a:spcPts val="0"/>
              </a:spcBef>
              <a:spcAft>
                <a:spcPts val="0"/>
              </a:spcAft>
            </a:pPr>
            <a:r>
              <a:rPr lang="en-GB" sz="1200" dirty="0">
                <a:solidFill>
                  <a:srgbClr val="696B6B"/>
                </a:solidFill>
                <a:highlight>
                  <a:srgbClr val="FFFFFF"/>
                </a:highlight>
                <a:latin typeface="Arial" panose="020B0604020202020204" pitchFamily="34" charset="0"/>
                <a:ea typeface="Times New Roman" panose="02020603050405020304" pitchFamily="18" charset="0"/>
                <a:cs typeface="Times New Roman" panose="02020603050405020304" pitchFamily="18" charset="0"/>
              </a:rPr>
              <a:t>The unit currently has planning permission for restaurant use. </a:t>
            </a:r>
            <a:endParaRPr lang="en-GB" sz="1200" dirty="0">
              <a:solidFill>
                <a:srgbClr val="696B6B"/>
              </a:solidFill>
              <a:effectLst/>
              <a:highlight>
                <a:srgbClr val="FFFFFF"/>
              </a:highlight>
              <a:latin typeface="Arial" panose="020B0604020202020204" pitchFamily="34" charset="0"/>
              <a:ea typeface="Times New Roman" panose="02020603050405020304" pitchFamily="18" charset="0"/>
              <a:cs typeface="Times New Roman" panose="02020603050405020304" pitchFamily="18" charset="0"/>
            </a:endParaRPr>
          </a:p>
          <a:p>
            <a:pPr marL="0" marR="0">
              <a:lnSpc>
                <a:spcPct val="115000"/>
              </a:lnSpc>
              <a:spcBef>
                <a:spcPts val="0"/>
              </a:spcBef>
              <a:spcAft>
                <a:spcPts val="0"/>
              </a:spcAft>
            </a:pPr>
            <a:endParaRPr lang="en-US" sz="1200" dirty="0">
              <a:highlight>
                <a:srgbClr val="FFFFFF"/>
              </a:highlight>
            </a:endParaRPr>
          </a:p>
        </p:txBody>
      </p:sp>
      <p:pic>
        <p:nvPicPr>
          <p:cNvPr id="17" name="Picture 16" descr="A black and yellow logo&#10;&#10;Description automatically generated">
            <a:extLst>
              <a:ext uri="{FF2B5EF4-FFF2-40B4-BE49-F238E27FC236}">
                <a16:creationId xmlns:a16="http://schemas.microsoft.com/office/drawing/2014/main" id="{9414F9B4-4397-2944-1C17-9B824A903947}"/>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29231" y="10103041"/>
            <a:ext cx="1382712" cy="486510"/>
          </a:xfrm>
          <a:prstGeom prst="rect">
            <a:avLst/>
          </a:prstGeom>
        </p:spPr>
      </p:pic>
      <p:pic>
        <p:nvPicPr>
          <p:cNvPr id="14" name="Picture 13" descr="A group of people walking on a sidewalk in front of a building&#10;&#10;Description automatically generated">
            <a:extLst>
              <a:ext uri="{FF2B5EF4-FFF2-40B4-BE49-F238E27FC236}">
                <a16:creationId xmlns:a16="http://schemas.microsoft.com/office/drawing/2014/main" id="{7F87AED0-35A7-A055-6DC0-7A2D8E59FDE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 y="1287157"/>
            <a:ext cx="7561263" cy="3935380"/>
          </a:xfrm>
          <a:prstGeom prst="rect">
            <a:avLst/>
          </a:prstGeom>
        </p:spPr>
      </p:pic>
    </p:spTree>
    <p:extLst>
      <p:ext uri="{BB962C8B-B14F-4D97-AF65-F5344CB8AC3E}">
        <p14:creationId xmlns:p14="http://schemas.microsoft.com/office/powerpoint/2010/main" val="19050049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685503" y="3185652"/>
            <a:ext cx="1578078" cy="11208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US" sz="1200" dirty="0">
              <a:solidFill>
                <a:schemeClr val="bg1"/>
              </a:solidFill>
            </a:endParaRPr>
          </a:p>
        </p:txBody>
      </p:sp>
      <p:graphicFrame>
        <p:nvGraphicFramePr>
          <p:cNvPr id="2" name="Object 1" hidden="1"/>
          <p:cNvGraphicFramePr>
            <a:graphicFrameLocks noChangeAspect="1"/>
          </p:cNvGraphicFramePr>
          <p:nvPr>
            <p:custDataLst>
              <p:tags r:id="rId1"/>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0" y="0"/>
                        <a:ext cx="158750" cy="158750"/>
                      </a:xfrm>
                      <a:prstGeom prst="rect">
                        <a:avLst/>
                      </a:prstGeom>
                    </p:spPr>
                  </p:pic>
                </p:oleObj>
              </mc:Fallback>
            </mc:AlternateContent>
          </a:graphicData>
        </a:graphic>
      </p:graphicFrame>
      <p:sp>
        <p:nvSpPr>
          <p:cNvPr id="11" name="TextBox 10"/>
          <p:cNvSpPr txBox="1"/>
          <p:nvPr/>
        </p:nvSpPr>
        <p:spPr>
          <a:xfrm>
            <a:off x="5860112" y="10367365"/>
            <a:ext cx="2822713" cy="187424"/>
          </a:xfrm>
          <a:prstGeom prst="rect">
            <a:avLst/>
          </a:prstGeom>
          <a:noFill/>
          <a:ln>
            <a:noFill/>
          </a:ln>
          <a:effectLst/>
        </p:spPr>
        <p:txBody>
          <a:bodyPr vert="horz" wrap="square" lIns="0" tIns="0" rIns="0" bIns="0" rtlCol="0">
            <a:spAutoFit/>
          </a:bodyPr>
          <a:lstStyle/>
          <a:p>
            <a:pPr>
              <a:lnSpc>
                <a:spcPct val="110000"/>
              </a:lnSpc>
            </a:pPr>
            <a:r>
              <a:rPr lang="en-GB" sz="1200" b="1" dirty="0"/>
              <a:t>cushmanwakfield.ie</a:t>
            </a:r>
            <a:endParaRPr lang="en-US" sz="1200" b="1" dirty="0"/>
          </a:p>
        </p:txBody>
      </p:sp>
      <p:sp>
        <p:nvSpPr>
          <p:cNvPr id="18" name="TextBox 17"/>
          <p:cNvSpPr txBox="1"/>
          <p:nvPr/>
        </p:nvSpPr>
        <p:spPr>
          <a:xfrm>
            <a:off x="126169" y="50420"/>
            <a:ext cx="5156714" cy="1169551"/>
          </a:xfrm>
          <a:prstGeom prst="rect">
            <a:avLst/>
          </a:prstGeom>
          <a:noFill/>
          <a:ln>
            <a:noFill/>
          </a:ln>
          <a:effectLst/>
        </p:spPr>
        <p:txBody>
          <a:bodyPr vert="horz" wrap="square" lIns="0" tIns="0" rIns="0" bIns="0" rtlCol="0">
            <a:spAutoFit/>
          </a:bodyPr>
          <a:lstStyle/>
          <a:p>
            <a:pPr marL="0">
              <a:spcBef>
                <a:spcPts val="1200"/>
              </a:spcBef>
              <a:spcAft>
                <a:spcPts val="1200"/>
              </a:spcAft>
            </a:pPr>
            <a:r>
              <a:rPr lang="en-IE" sz="2400" b="1" dirty="0">
                <a:solidFill>
                  <a:schemeClr val="bg1"/>
                </a:solidFill>
              </a:rPr>
              <a:t>Freehold Opportunity: For Sale by Private Treaty </a:t>
            </a:r>
            <a:endParaRPr lang="en-IE" sz="2400" b="1" kern="1200" dirty="0">
              <a:solidFill>
                <a:schemeClr val="bg1"/>
              </a:solidFill>
              <a:effectLst/>
              <a:latin typeface="+mn-lt"/>
              <a:ea typeface="+mn-ea"/>
              <a:cs typeface="+mn-cs"/>
            </a:endParaRPr>
          </a:p>
          <a:p>
            <a:r>
              <a:rPr lang="en-US" sz="1800" dirty="0">
                <a:solidFill>
                  <a:schemeClr val="bg1"/>
                </a:solidFill>
                <a:highlight>
                  <a:srgbClr val="E4002B"/>
                </a:highlight>
              </a:rPr>
              <a:t>108-109 Middle Abbey Street, Dublin 1.</a:t>
            </a:r>
            <a:endParaRPr lang="en-US" sz="1200" dirty="0"/>
          </a:p>
        </p:txBody>
      </p:sp>
      <p:pic>
        <p:nvPicPr>
          <p:cNvPr id="101741" name="Picture 365">
            <a:extLst>
              <a:ext uri="{FF2B5EF4-FFF2-40B4-BE49-F238E27FC236}">
                <a16:creationId xmlns:a16="http://schemas.microsoft.com/office/drawing/2014/main" id="{8694260A-182D-44E8-ACC2-637777A9C9A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607840" y="199768"/>
            <a:ext cx="1697702" cy="943128"/>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54E81D94-011D-8DB5-4278-FD7362A6134B}"/>
              </a:ext>
            </a:extLst>
          </p:cNvPr>
          <p:cNvSpPr/>
          <p:nvPr/>
        </p:nvSpPr>
        <p:spPr>
          <a:xfrm>
            <a:off x="-2" y="9986315"/>
            <a:ext cx="7561263" cy="719963"/>
          </a:xfrm>
          <a:prstGeom prst="rect">
            <a:avLst/>
          </a:prstGeom>
          <a:solidFill>
            <a:srgbClr val="E4002B"/>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lstStyle/>
          <a:p>
            <a:pPr algn="ctr"/>
            <a:endParaRPr lang="en-US" sz="1200" dirty="0">
              <a:solidFill>
                <a:schemeClr val="bg1"/>
              </a:solidFill>
            </a:endParaRPr>
          </a:p>
        </p:txBody>
      </p:sp>
      <p:sp>
        <p:nvSpPr>
          <p:cNvPr id="12" name="TextBox 11">
            <a:extLst>
              <a:ext uri="{FF2B5EF4-FFF2-40B4-BE49-F238E27FC236}">
                <a16:creationId xmlns:a16="http://schemas.microsoft.com/office/drawing/2014/main" id="{E1B240B3-24FE-1AD1-2598-DF024ECBC9CD}"/>
              </a:ext>
            </a:extLst>
          </p:cNvPr>
          <p:cNvSpPr txBox="1"/>
          <p:nvPr/>
        </p:nvSpPr>
        <p:spPr>
          <a:xfrm>
            <a:off x="5852224" y="10196458"/>
            <a:ext cx="2822713" cy="187424"/>
          </a:xfrm>
          <a:prstGeom prst="rect">
            <a:avLst/>
          </a:prstGeom>
          <a:noFill/>
          <a:ln>
            <a:noFill/>
          </a:ln>
          <a:effectLst/>
        </p:spPr>
        <p:txBody>
          <a:bodyPr vert="horz" wrap="square" lIns="0" tIns="0" rIns="0" bIns="0" rtlCol="0">
            <a:spAutoFit/>
          </a:bodyPr>
          <a:lstStyle/>
          <a:p>
            <a:pPr>
              <a:lnSpc>
                <a:spcPct val="110000"/>
              </a:lnSpc>
            </a:pPr>
            <a:r>
              <a:rPr lang="en-GB" sz="1200" b="1" dirty="0">
                <a:solidFill>
                  <a:schemeClr val="bg1"/>
                </a:solidFill>
              </a:rPr>
              <a:t>cushmanwakfield.ie</a:t>
            </a:r>
            <a:endParaRPr lang="en-US" sz="1200" b="1" dirty="0">
              <a:solidFill>
                <a:schemeClr val="bg1"/>
              </a:solidFill>
            </a:endParaRPr>
          </a:p>
        </p:txBody>
      </p:sp>
      <p:pic>
        <p:nvPicPr>
          <p:cNvPr id="6" name="Picture 5" descr="A bus on the street&#10;&#10;Description automatically generated">
            <a:extLst>
              <a:ext uri="{FF2B5EF4-FFF2-40B4-BE49-F238E27FC236}">
                <a16:creationId xmlns:a16="http://schemas.microsoft.com/office/drawing/2014/main" id="{33C77CF1-F022-00BF-E37D-A3B395721E2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0" y="1297048"/>
            <a:ext cx="4016379" cy="5624862"/>
          </a:xfrm>
          <a:prstGeom prst="rect">
            <a:avLst/>
          </a:prstGeom>
        </p:spPr>
      </p:pic>
      <p:pic>
        <p:nvPicPr>
          <p:cNvPr id="10" name="Picture 9" descr="A room with stairs and railings&#10;&#10;Description automatically generated">
            <a:extLst>
              <a:ext uri="{FF2B5EF4-FFF2-40B4-BE49-F238E27FC236}">
                <a16:creationId xmlns:a16="http://schemas.microsoft.com/office/drawing/2014/main" id="{1620FB2D-CB41-5091-76CC-D6C88D34A97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016379" y="4931764"/>
            <a:ext cx="3544884" cy="2710107"/>
          </a:xfrm>
          <a:prstGeom prst="rect">
            <a:avLst/>
          </a:prstGeom>
        </p:spPr>
      </p:pic>
      <p:pic>
        <p:nvPicPr>
          <p:cNvPr id="16" name="Picture 15" descr="A room with stairs and railings&#10;&#10;Description automatically generated">
            <a:extLst>
              <a:ext uri="{FF2B5EF4-FFF2-40B4-BE49-F238E27FC236}">
                <a16:creationId xmlns:a16="http://schemas.microsoft.com/office/drawing/2014/main" id="{0628A4E4-7531-F03E-E12D-B38D6BB12AD7}"/>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0" y="6921910"/>
            <a:ext cx="4016379" cy="3064405"/>
          </a:xfrm>
          <a:prstGeom prst="rect">
            <a:avLst/>
          </a:prstGeom>
        </p:spPr>
      </p:pic>
      <p:pic>
        <p:nvPicPr>
          <p:cNvPr id="19" name="Picture 18" descr="A room with blue poles&#10;&#10;Description automatically generated">
            <a:extLst>
              <a:ext uri="{FF2B5EF4-FFF2-40B4-BE49-F238E27FC236}">
                <a16:creationId xmlns:a16="http://schemas.microsoft.com/office/drawing/2014/main" id="{35FF2B1E-0EC4-3979-4A91-58911AD9E6DF}"/>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016379" y="1297048"/>
            <a:ext cx="3544884" cy="3634716"/>
          </a:xfrm>
          <a:prstGeom prst="rect">
            <a:avLst/>
          </a:prstGeom>
        </p:spPr>
      </p:pic>
      <p:pic>
        <p:nvPicPr>
          <p:cNvPr id="21" name="Picture 20" descr="A room with wood and wood in it&#10;&#10;Description automatically generated with medium confidence">
            <a:extLst>
              <a:ext uri="{FF2B5EF4-FFF2-40B4-BE49-F238E27FC236}">
                <a16:creationId xmlns:a16="http://schemas.microsoft.com/office/drawing/2014/main" id="{E12E97B9-E20A-3F26-F72E-E1BFBD3457EE}"/>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016379" y="7641872"/>
            <a:ext cx="3544884" cy="2344443"/>
          </a:xfrm>
          <a:prstGeom prst="rect">
            <a:avLst/>
          </a:prstGeom>
        </p:spPr>
      </p:pic>
    </p:spTree>
    <p:extLst>
      <p:ext uri="{BB962C8B-B14F-4D97-AF65-F5344CB8AC3E}">
        <p14:creationId xmlns:p14="http://schemas.microsoft.com/office/powerpoint/2010/main" val="37251348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244"/>
          <p:cNvSpPr>
            <a:spLocks/>
          </p:cNvSpPr>
          <p:nvPr/>
        </p:nvSpPr>
        <p:spPr bwMode="auto">
          <a:xfrm>
            <a:off x="0" y="9424158"/>
            <a:ext cx="5657850" cy="1269242"/>
          </a:xfrm>
          <a:custGeom>
            <a:avLst/>
            <a:gdLst>
              <a:gd name="T0" fmla="*/ 2359 w 3564"/>
              <a:gd name="T1" fmla="*/ 2265 h 2265"/>
              <a:gd name="T2" fmla="*/ 3564 w 3564"/>
              <a:gd name="T3" fmla="*/ 0 h 2265"/>
              <a:gd name="T4" fmla="*/ 0 w 3564"/>
              <a:gd name="T5" fmla="*/ 0 h 2265"/>
              <a:gd name="T6" fmla="*/ 0 w 3564"/>
              <a:gd name="T7" fmla="*/ 2265 h 2265"/>
              <a:gd name="T8" fmla="*/ 2359 w 3564"/>
              <a:gd name="T9" fmla="*/ 2265 h 2265"/>
              <a:gd name="connsiteX0" fmla="*/ 8651 w 10000"/>
              <a:gd name="connsiteY0" fmla="*/ 9900 h 10000"/>
              <a:gd name="connsiteX1" fmla="*/ 10000 w 10000"/>
              <a:gd name="connsiteY1" fmla="*/ 0 h 10000"/>
              <a:gd name="connsiteX2" fmla="*/ 0 w 10000"/>
              <a:gd name="connsiteY2" fmla="*/ 0 h 10000"/>
              <a:gd name="connsiteX3" fmla="*/ 0 w 10000"/>
              <a:gd name="connsiteY3" fmla="*/ 10000 h 10000"/>
              <a:gd name="connsiteX4" fmla="*/ 8651 w 10000"/>
              <a:gd name="connsiteY4" fmla="*/ 99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8651" y="9900"/>
                </a:moveTo>
                <a:lnTo>
                  <a:pt x="10000" y="0"/>
                </a:lnTo>
                <a:lnTo>
                  <a:pt x="0" y="0"/>
                </a:lnTo>
                <a:lnTo>
                  <a:pt x="0" y="10000"/>
                </a:lnTo>
                <a:lnTo>
                  <a:pt x="8651" y="9900"/>
                </a:lnTo>
                <a:close/>
              </a:path>
            </a:pathLst>
          </a:custGeom>
          <a:solidFill>
            <a:srgbClr val="E30C2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pic>
        <p:nvPicPr>
          <p:cNvPr id="23" name="Picture 22"/>
          <p:cNvPicPr>
            <a:picLocks noChangeAspect="1"/>
          </p:cNvPicPr>
          <p:nvPr/>
        </p:nvPicPr>
        <p:blipFill>
          <a:blip r:embed="rId3">
            <a:extLst>
              <a:ext uri="{28A0092B-C50C-407E-A947-70E740481C1C}">
                <a14:useLocalDpi xmlns:a14="http://schemas.microsoft.com/office/drawing/2010/main" val="0"/>
              </a:ext>
            </a:extLst>
          </a:blip>
          <a:srcRect/>
          <a:stretch/>
        </p:blipFill>
        <p:spPr>
          <a:xfrm>
            <a:off x="5764085" y="9572871"/>
            <a:ext cx="1501678" cy="831865"/>
          </a:xfrm>
          <a:prstGeom prst="rect">
            <a:avLst/>
          </a:prstGeom>
        </p:spPr>
      </p:pic>
      <p:sp>
        <p:nvSpPr>
          <p:cNvPr id="41" name="TextBox 40"/>
          <p:cNvSpPr txBox="1"/>
          <p:nvPr/>
        </p:nvSpPr>
        <p:spPr>
          <a:xfrm>
            <a:off x="258158" y="9620472"/>
            <a:ext cx="4780317" cy="902235"/>
          </a:xfrm>
          <a:prstGeom prst="rect">
            <a:avLst/>
          </a:prstGeom>
          <a:noFill/>
          <a:ln>
            <a:noFill/>
          </a:ln>
          <a:effectLst/>
        </p:spPr>
        <p:txBody>
          <a:bodyPr vert="horz" wrap="square" lIns="0" tIns="0" rIns="0" bIns="0" rtlCol="0">
            <a:spAutoFit/>
          </a:bodyPr>
          <a:lstStyle/>
          <a:p>
            <a:pPr>
              <a:lnSpc>
                <a:spcPct val="110000"/>
              </a:lnSpc>
            </a:pPr>
            <a:r>
              <a:rPr lang="en-GB" sz="900" dirty="0">
                <a:solidFill>
                  <a:schemeClr val="bg1"/>
                </a:solidFill>
              </a:rPr>
              <a:t>A full copy of our general brochure conditions can be viewed on our website or can be requested from your local Cushman Wakefield office. We strongly recommend that you familiarise yourself with these general conditions. While care has been taken to ensure that information contained in Cushman Wakefield publications is correct at the time of publication, changes in circumstances after the time of publication may impact on the accuracy of this information. PSRA Registration Number: 002222.    Subject to Contract/Contract Denied.</a:t>
            </a:r>
          </a:p>
        </p:txBody>
      </p:sp>
      <p:sp>
        <p:nvSpPr>
          <p:cNvPr id="27" name="Rectangle 26">
            <a:extLst>
              <a:ext uri="{FF2B5EF4-FFF2-40B4-BE49-F238E27FC236}">
                <a16:creationId xmlns:a16="http://schemas.microsoft.com/office/drawing/2014/main" id="{2518B67D-58A4-4586-A478-EF551C6D3D2B}"/>
              </a:ext>
            </a:extLst>
          </p:cNvPr>
          <p:cNvSpPr/>
          <p:nvPr/>
        </p:nvSpPr>
        <p:spPr>
          <a:xfrm>
            <a:off x="178411" y="7654507"/>
            <a:ext cx="1394934" cy="338554"/>
          </a:xfrm>
          <a:prstGeom prst="rect">
            <a:avLst/>
          </a:prstGeom>
        </p:spPr>
        <p:txBody>
          <a:bodyPr wrap="none">
            <a:spAutoFit/>
          </a:bodyPr>
          <a:lstStyle/>
          <a:p>
            <a:r>
              <a:rPr lang="en-GB" sz="1600" b="1" dirty="0">
                <a:solidFill>
                  <a:schemeClr val="tx2"/>
                </a:solidFill>
              </a:rPr>
              <a:t>Guide Price:</a:t>
            </a:r>
          </a:p>
        </p:txBody>
      </p:sp>
      <p:sp>
        <p:nvSpPr>
          <p:cNvPr id="4" name="TextBox 3">
            <a:extLst>
              <a:ext uri="{FF2B5EF4-FFF2-40B4-BE49-F238E27FC236}">
                <a16:creationId xmlns:a16="http://schemas.microsoft.com/office/drawing/2014/main" id="{8C507EED-7194-B531-5A0A-CFA424F0D9EF}"/>
              </a:ext>
            </a:extLst>
          </p:cNvPr>
          <p:cNvSpPr txBox="1"/>
          <p:nvPr/>
        </p:nvSpPr>
        <p:spPr>
          <a:xfrm>
            <a:off x="157573" y="440457"/>
            <a:ext cx="4299385" cy="3582969"/>
          </a:xfrm>
          <a:prstGeom prst="rect">
            <a:avLst/>
          </a:prstGeom>
          <a:noFill/>
          <a:ln>
            <a:noFill/>
          </a:ln>
          <a:effectLst/>
        </p:spPr>
        <p:txBody>
          <a:bodyPr vert="horz" wrap="square" lIns="0" tIns="0" rIns="0" bIns="0" rtlCol="0">
            <a:spAutoFit/>
          </a:bodyPr>
          <a:lstStyle/>
          <a:p>
            <a:pPr algn="just" rtl="0"/>
            <a:r>
              <a:rPr lang="en-US" sz="1200" dirty="0">
                <a:highlight>
                  <a:srgbClr val="FFFFFF"/>
                </a:highlight>
              </a:rPr>
              <a:t>The property is situated on Middle Abbey Street, centrally located in Dublin City Centre. It runs parallel to O’Connell Street one of the cities main throughfares and is surrounded by other prominent streets including Henry Street and Capel Street. The Street is part of a bustling commercial district lined with stores, restaurants, cafes and entertainment venues. Neighboring occupiers include Arnott's department store, Hotel Motel One, Penney's, CEF, WIG WAM and The Academy.</a:t>
            </a:r>
            <a:endParaRPr lang="en-US" sz="1200" dirty="0">
              <a:effectLst/>
              <a:highlight>
                <a:srgbClr val="FFFFFF"/>
              </a:highlight>
              <a:ea typeface="Arial" panose="020B0604020202020204" pitchFamily="34" charset="0"/>
              <a:cs typeface="Times New Roman" panose="02020603050405020304" pitchFamily="18" charset="0"/>
            </a:endParaRPr>
          </a:p>
          <a:p>
            <a:pPr marL="0" marR="0">
              <a:lnSpc>
                <a:spcPct val="115000"/>
              </a:lnSpc>
              <a:spcBef>
                <a:spcPts val="0"/>
              </a:spcBef>
              <a:spcAft>
                <a:spcPts val="0"/>
              </a:spcAft>
            </a:pPr>
            <a:r>
              <a:rPr lang="en-US" sz="1200" dirty="0">
                <a:highlight>
                  <a:srgbClr val="FFFFFF"/>
                </a:highlight>
                <a:ea typeface="Times New Roman" panose="02020603050405020304" pitchFamily="18" charset="0"/>
                <a:cs typeface="Times New Roman" panose="02020603050405020304" pitchFamily="18" charset="0"/>
              </a:rPr>
              <a:t>Middle Abbey Street benefits from a comprehensive network of transport links, including buses, trams, walking and cycling infrastructure, taxis and rail connections. The Luas offers a convenient and efficient way to travel within Dublin’s City Centre and surrounding areas. The Jervis stop on the Luas Red Line and the O’Connell Street stop on the Luas Green Line are both located nearby, providing easy access to the tram system for commuters. The Streets proximity to rail services such as Connolly and Tara Street Station further enhance the areas accessibility. </a:t>
            </a:r>
            <a:endParaRPr lang="en-US" sz="1000" dirty="0">
              <a:highlight>
                <a:srgbClr val="FFFF00"/>
              </a:highlight>
            </a:endParaRPr>
          </a:p>
        </p:txBody>
      </p:sp>
      <p:sp>
        <p:nvSpPr>
          <p:cNvPr id="5" name="Rectangle 4">
            <a:extLst>
              <a:ext uri="{FF2B5EF4-FFF2-40B4-BE49-F238E27FC236}">
                <a16:creationId xmlns:a16="http://schemas.microsoft.com/office/drawing/2014/main" id="{BFCD7B68-8820-9111-4157-5D315A1B440C}"/>
              </a:ext>
            </a:extLst>
          </p:cNvPr>
          <p:cNvSpPr/>
          <p:nvPr/>
        </p:nvSpPr>
        <p:spPr>
          <a:xfrm>
            <a:off x="121941" y="46181"/>
            <a:ext cx="1033728" cy="338554"/>
          </a:xfrm>
          <a:prstGeom prst="rect">
            <a:avLst/>
          </a:prstGeom>
        </p:spPr>
        <p:txBody>
          <a:bodyPr wrap="square">
            <a:spAutoFit/>
          </a:bodyPr>
          <a:lstStyle/>
          <a:p>
            <a:r>
              <a:rPr lang="en-US" sz="1600" b="1" dirty="0">
                <a:solidFill>
                  <a:schemeClr val="tx2"/>
                </a:solidFill>
              </a:rPr>
              <a:t>Location</a:t>
            </a:r>
          </a:p>
        </p:txBody>
      </p:sp>
      <p:grpSp>
        <p:nvGrpSpPr>
          <p:cNvPr id="14" name="Group 13">
            <a:extLst>
              <a:ext uri="{FF2B5EF4-FFF2-40B4-BE49-F238E27FC236}">
                <a16:creationId xmlns:a16="http://schemas.microsoft.com/office/drawing/2014/main" id="{5D022188-4AE3-D9AA-ED0D-7C86FF0B4256}"/>
              </a:ext>
            </a:extLst>
          </p:cNvPr>
          <p:cNvGrpSpPr/>
          <p:nvPr/>
        </p:nvGrpSpPr>
        <p:grpSpPr>
          <a:xfrm>
            <a:off x="157573" y="8323696"/>
            <a:ext cx="4033595" cy="523220"/>
            <a:chOff x="-29021" y="83690"/>
            <a:chExt cx="4033595" cy="523220"/>
          </a:xfrm>
        </p:grpSpPr>
        <p:sp>
          <p:nvSpPr>
            <p:cNvPr id="15" name="Rectangle 14">
              <a:extLst>
                <a:ext uri="{FF2B5EF4-FFF2-40B4-BE49-F238E27FC236}">
                  <a16:creationId xmlns:a16="http://schemas.microsoft.com/office/drawing/2014/main" id="{B5D8F1D8-7D67-D9CE-7CA2-9884899A382E}"/>
                </a:ext>
              </a:extLst>
            </p:cNvPr>
            <p:cNvSpPr/>
            <p:nvPr/>
          </p:nvSpPr>
          <p:spPr>
            <a:xfrm>
              <a:off x="-29021" y="83690"/>
              <a:ext cx="1608133" cy="523220"/>
            </a:xfrm>
            <a:prstGeom prst="rect">
              <a:avLst/>
            </a:prstGeom>
          </p:spPr>
          <p:txBody>
            <a:bodyPr wrap="none">
              <a:spAutoFit/>
            </a:bodyPr>
            <a:lstStyle/>
            <a:p>
              <a:r>
                <a:rPr lang="en-GB" sz="1600" b="1" dirty="0">
                  <a:solidFill>
                    <a:schemeClr val="tx2"/>
                  </a:solidFill>
                  <a:highlight>
                    <a:srgbClr val="FFFFFF"/>
                  </a:highlight>
                </a:rPr>
                <a:t>BER Details:</a:t>
              </a:r>
            </a:p>
            <a:p>
              <a:r>
                <a:rPr lang="en-GB" sz="1200" dirty="0">
                  <a:highlight>
                    <a:srgbClr val="FFFFFF"/>
                  </a:highlight>
                </a:rPr>
                <a:t>BER No</a:t>
              </a:r>
              <a:r>
                <a:rPr lang="en-GB" sz="1200" b="1" dirty="0">
                  <a:highlight>
                    <a:srgbClr val="FFFFFF"/>
                  </a:highlight>
                </a:rPr>
                <a:t>. </a:t>
              </a:r>
              <a:r>
                <a:rPr lang="en-US" sz="1200" dirty="0"/>
                <a:t>800968786</a:t>
              </a:r>
              <a:endParaRPr lang="en-GB" sz="1200" b="1" dirty="0">
                <a:highlight>
                  <a:srgbClr val="FFFFFF"/>
                </a:highlight>
              </a:endParaRPr>
            </a:p>
          </p:txBody>
        </p:sp>
        <p:sp>
          <p:nvSpPr>
            <p:cNvPr id="16" name="TextBox 15">
              <a:extLst>
                <a:ext uri="{FF2B5EF4-FFF2-40B4-BE49-F238E27FC236}">
                  <a16:creationId xmlns:a16="http://schemas.microsoft.com/office/drawing/2014/main" id="{AF590FA9-97EB-F38A-50E4-1D52AAA8509D}"/>
                </a:ext>
              </a:extLst>
            </p:cNvPr>
            <p:cNvSpPr txBox="1"/>
            <p:nvPr/>
          </p:nvSpPr>
          <p:spPr>
            <a:xfrm>
              <a:off x="70520" y="252967"/>
              <a:ext cx="3934054" cy="184666"/>
            </a:xfrm>
            <a:prstGeom prst="rect">
              <a:avLst/>
            </a:prstGeom>
            <a:noFill/>
            <a:ln>
              <a:noFill/>
            </a:ln>
            <a:effectLst/>
          </p:spPr>
          <p:txBody>
            <a:bodyPr vert="horz" wrap="square" lIns="0" tIns="0" rIns="0" bIns="0" rtlCol="0">
              <a:spAutoFit/>
            </a:bodyPr>
            <a:lstStyle/>
            <a:p>
              <a:endParaRPr lang="en-US" sz="1200" dirty="0"/>
            </a:p>
          </p:txBody>
        </p:sp>
      </p:grpSp>
      <p:sp>
        <p:nvSpPr>
          <p:cNvPr id="3" name="TextBox 2">
            <a:extLst>
              <a:ext uri="{FF2B5EF4-FFF2-40B4-BE49-F238E27FC236}">
                <a16:creationId xmlns:a16="http://schemas.microsoft.com/office/drawing/2014/main" id="{14560C34-F39B-98BA-C53B-0636B2B71172}"/>
              </a:ext>
            </a:extLst>
          </p:cNvPr>
          <p:cNvSpPr txBox="1"/>
          <p:nvPr/>
        </p:nvSpPr>
        <p:spPr>
          <a:xfrm>
            <a:off x="3529420" y="7428034"/>
            <a:ext cx="2805459" cy="452945"/>
          </a:xfrm>
          <a:prstGeom prst="rect">
            <a:avLst/>
          </a:prstGeom>
          <a:noFill/>
          <a:ln>
            <a:noFill/>
          </a:ln>
          <a:effectLst/>
        </p:spPr>
        <p:txBody>
          <a:bodyPr vert="horz" wrap="square" lIns="0" tIns="0" rIns="0" bIns="0" rtlCol="0">
            <a:spAutoFit/>
          </a:bodyPr>
          <a:lstStyle/>
          <a:p>
            <a:pPr>
              <a:lnSpc>
                <a:spcPct val="110000"/>
              </a:lnSpc>
            </a:pPr>
            <a:r>
              <a:rPr lang="en-GB" sz="1200" dirty="0">
                <a:highlight>
                  <a:srgbClr val="FFFFFF"/>
                </a:highlight>
              </a:rPr>
              <a:t>.</a:t>
            </a:r>
            <a:endParaRPr lang="en-US" sz="1200" dirty="0">
              <a:highlight>
                <a:srgbClr val="FFFFFF"/>
              </a:highlight>
            </a:endParaRPr>
          </a:p>
          <a:p>
            <a:pPr>
              <a:lnSpc>
                <a:spcPct val="110000"/>
              </a:lnSpc>
            </a:pPr>
            <a:r>
              <a:rPr lang="en-GB" sz="1600" b="1" dirty="0">
                <a:solidFill>
                  <a:schemeClr val="tx2"/>
                </a:solidFill>
              </a:rPr>
              <a:t>Viewings</a:t>
            </a:r>
            <a:endParaRPr lang="en-GB" sz="1200" dirty="0"/>
          </a:p>
        </p:txBody>
      </p:sp>
      <p:sp>
        <p:nvSpPr>
          <p:cNvPr id="7" name="TextBox 6">
            <a:extLst>
              <a:ext uri="{FF2B5EF4-FFF2-40B4-BE49-F238E27FC236}">
                <a16:creationId xmlns:a16="http://schemas.microsoft.com/office/drawing/2014/main" id="{65C0EFD1-FD95-7081-5CF3-37DD6930BF28}"/>
              </a:ext>
            </a:extLst>
          </p:cNvPr>
          <p:cNvSpPr txBox="1"/>
          <p:nvPr/>
        </p:nvSpPr>
        <p:spPr>
          <a:xfrm>
            <a:off x="3393274" y="8413302"/>
            <a:ext cx="3290402" cy="956865"/>
          </a:xfrm>
          <a:prstGeom prst="rect">
            <a:avLst/>
          </a:prstGeom>
          <a:noFill/>
          <a:ln>
            <a:noFill/>
          </a:ln>
          <a:effectLst/>
        </p:spPr>
        <p:txBody>
          <a:bodyPr wrap="square">
            <a:spAutoFit/>
          </a:bodyPr>
          <a:lstStyle/>
          <a:p>
            <a:pPr>
              <a:lnSpc>
                <a:spcPct val="110000"/>
              </a:lnSpc>
            </a:pPr>
            <a:r>
              <a:rPr lang="en-GB" sz="1600" b="1" dirty="0">
                <a:solidFill>
                  <a:schemeClr val="tx2"/>
                </a:solidFill>
              </a:rPr>
              <a:t>Commercial Rates</a:t>
            </a:r>
          </a:p>
          <a:p>
            <a:pPr>
              <a:lnSpc>
                <a:spcPct val="110000"/>
              </a:lnSpc>
            </a:pPr>
            <a:r>
              <a:rPr lang="en-GB" sz="1200" dirty="0"/>
              <a:t>2024 commercial rates payable were approximately €20,744.94</a:t>
            </a:r>
            <a:endParaRPr lang="en-US" sz="1000" dirty="0"/>
          </a:p>
          <a:p>
            <a:pPr>
              <a:lnSpc>
                <a:spcPct val="110000"/>
              </a:lnSpc>
            </a:pPr>
            <a:endParaRPr lang="en-GB" sz="1200" dirty="0">
              <a:solidFill>
                <a:schemeClr val="accent2"/>
              </a:solidFill>
            </a:endParaRPr>
          </a:p>
        </p:txBody>
      </p:sp>
      <p:graphicFrame>
        <p:nvGraphicFramePr>
          <p:cNvPr id="8" name="Table 5">
            <a:extLst>
              <a:ext uri="{FF2B5EF4-FFF2-40B4-BE49-F238E27FC236}">
                <a16:creationId xmlns:a16="http://schemas.microsoft.com/office/drawing/2014/main" id="{2439F525-99CF-D0C0-12AF-E9B617208A74}"/>
              </a:ext>
            </a:extLst>
          </p:cNvPr>
          <p:cNvGraphicFramePr>
            <a:graphicFrameLocks noGrp="1"/>
          </p:cNvGraphicFramePr>
          <p:nvPr>
            <p:extLst>
              <p:ext uri="{D42A27DB-BD31-4B8C-83A1-F6EECF244321}">
                <p14:modId xmlns:p14="http://schemas.microsoft.com/office/powerpoint/2010/main" val="826568552"/>
              </p:ext>
            </p:extLst>
          </p:nvPr>
        </p:nvGraphicFramePr>
        <p:xfrm>
          <a:off x="4759818" y="663650"/>
          <a:ext cx="2085976" cy="3071518"/>
        </p:xfrm>
        <a:graphic>
          <a:graphicData uri="http://schemas.openxmlformats.org/drawingml/2006/table">
            <a:tbl>
              <a:tblPr firstRow="1" bandRow="1">
                <a:tableStyleId>{073A0DAA-6AF3-43AB-8588-CEC1D06C72B9}</a:tableStyleId>
              </a:tblPr>
              <a:tblGrid>
                <a:gridCol w="879725">
                  <a:extLst>
                    <a:ext uri="{9D8B030D-6E8A-4147-A177-3AD203B41FA5}">
                      <a16:colId xmlns:a16="http://schemas.microsoft.com/office/drawing/2014/main" val="4267046950"/>
                    </a:ext>
                  </a:extLst>
                </a:gridCol>
                <a:gridCol w="609600">
                  <a:extLst>
                    <a:ext uri="{9D8B030D-6E8A-4147-A177-3AD203B41FA5}">
                      <a16:colId xmlns:a16="http://schemas.microsoft.com/office/drawing/2014/main" val="1335758680"/>
                    </a:ext>
                  </a:extLst>
                </a:gridCol>
                <a:gridCol w="596651">
                  <a:extLst>
                    <a:ext uri="{9D8B030D-6E8A-4147-A177-3AD203B41FA5}">
                      <a16:colId xmlns:a16="http://schemas.microsoft.com/office/drawing/2014/main" val="3657996926"/>
                    </a:ext>
                  </a:extLst>
                </a:gridCol>
              </a:tblGrid>
              <a:tr h="304344">
                <a:tc>
                  <a:txBody>
                    <a:bodyPr/>
                    <a:lstStyle/>
                    <a:p>
                      <a:r>
                        <a:rPr lang="en-US" sz="1200" dirty="0">
                          <a:solidFill>
                            <a:schemeClr val="tx1"/>
                          </a:solidFill>
                        </a:rPr>
                        <a:t>Floor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r>
                        <a:rPr lang="en-US" sz="1200" dirty="0">
                          <a:solidFill>
                            <a:schemeClr val="tx1"/>
                          </a:solidFill>
                        </a:rPr>
                        <a:t>Sq 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r>
                        <a:rPr lang="en-US" sz="1200" dirty="0">
                          <a:solidFill>
                            <a:schemeClr val="tx1"/>
                          </a:solidFill>
                        </a:rPr>
                        <a:t>Sq F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2229316801"/>
                  </a:ext>
                </a:extLst>
              </a:tr>
              <a:tr h="298294">
                <a:tc>
                  <a:txBody>
                    <a:bodyPr/>
                    <a:lstStyle/>
                    <a:p>
                      <a:r>
                        <a:rPr lang="en-US" sz="1200" dirty="0">
                          <a:highlight>
                            <a:srgbClr val="FFFFFF"/>
                          </a:highlight>
                        </a:rPr>
                        <a:t>Basemen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200" dirty="0"/>
                        <a:t>16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200" dirty="0"/>
                        <a:t>1,78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05522784"/>
                  </a:ext>
                </a:extLst>
              </a:tr>
              <a:tr h="394038">
                <a:tc>
                  <a:txBody>
                    <a:bodyPr/>
                    <a:lstStyle/>
                    <a:p>
                      <a:r>
                        <a:rPr lang="en-US" sz="1200" dirty="0">
                          <a:highlight>
                            <a:srgbClr val="FFFFFF"/>
                          </a:highlight>
                        </a:rPr>
                        <a:t>Ground Floor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200" dirty="0"/>
                        <a:t>16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200" dirty="0"/>
                        <a:t>1,78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1146569"/>
                  </a:ext>
                </a:extLst>
              </a:tr>
              <a:tr h="394038">
                <a:tc>
                  <a:txBody>
                    <a:bodyPr/>
                    <a:lstStyle/>
                    <a:p>
                      <a:r>
                        <a:rPr lang="en-US" sz="1200" dirty="0">
                          <a:highlight>
                            <a:srgbClr val="FFFFFF"/>
                          </a:highlight>
                        </a:rPr>
                        <a:t>First  Floor</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200" dirty="0"/>
                        <a:t>16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200" dirty="0"/>
                        <a:t>1,786</a:t>
                      </a:r>
                    </a:p>
                    <a:p>
                      <a:endParaRPr lang="en-US"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41586885"/>
                  </a:ext>
                </a:extLst>
              </a:tr>
              <a:tr h="394038">
                <a:tc>
                  <a:txBody>
                    <a:bodyPr/>
                    <a:lstStyle/>
                    <a:p>
                      <a:r>
                        <a:rPr lang="en-US" sz="1200" dirty="0">
                          <a:highlight>
                            <a:srgbClr val="FFFFFF"/>
                          </a:highlight>
                        </a:rPr>
                        <a:t>First Floor Mezz</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200" dirty="0"/>
                        <a:t>3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200" dirty="0"/>
                        <a:t>40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61570803"/>
                  </a:ext>
                </a:extLst>
              </a:tr>
              <a:tr h="394038">
                <a:tc>
                  <a:txBody>
                    <a:bodyPr/>
                    <a:lstStyle/>
                    <a:p>
                      <a:r>
                        <a:rPr lang="en-US" sz="1200" dirty="0">
                          <a:highlight>
                            <a:srgbClr val="FFFFFF"/>
                          </a:highlight>
                        </a:rPr>
                        <a:t>Second Floor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200" dirty="0"/>
                        <a:t>16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200" dirty="0"/>
                        <a:t>1,78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89269382"/>
                  </a:ext>
                </a:extLst>
              </a:tr>
              <a:tr h="551653">
                <a:tc>
                  <a:txBody>
                    <a:bodyPr/>
                    <a:lstStyle/>
                    <a:p>
                      <a:r>
                        <a:rPr lang="en-US" sz="1200" dirty="0">
                          <a:highlight>
                            <a:srgbClr val="FFFFFF"/>
                          </a:highlight>
                        </a:rPr>
                        <a:t>Total Floor Are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200" dirty="0"/>
                        <a:t>70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200" dirty="0"/>
                        <a:t>7,55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4300508"/>
                  </a:ext>
                </a:extLst>
              </a:tr>
            </a:tbl>
          </a:graphicData>
        </a:graphic>
      </p:graphicFrame>
      <p:sp>
        <p:nvSpPr>
          <p:cNvPr id="12" name="Rectangle 11">
            <a:extLst>
              <a:ext uri="{FF2B5EF4-FFF2-40B4-BE49-F238E27FC236}">
                <a16:creationId xmlns:a16="http://schemas.microsoft.com/office/drawing/2014/main" id="{E23D873B-3B38-EF89-ADE4-D7F59141F2ED}"/>
              </a:ext>
            </a:extLst>
          </p:cNvPr>
          <p:cNvSpPr/>
          <p:nvPr/>
        </p:nvSpPr>
        <p:spPr>
          <a:xfrm>
            <a:off x="4636650" y="46181"/>
            <a:ext cx="2629113" cy="584775"/>
          </a:xfrm>
          <a:prstGeom prst="rect">
            <a:avLst/>
          </a:prstGeom>
        </p:spPr>
        <p:txBody>
          <a:bodyPr wrap="square">
            <a:spAutoFit/>
          </a:bodyPr>
          <a:lstStyle/>
          <a:p>
            <a:r>
              <a:rPr lang="en-GB" sz="1600" b="1" dirty="0">
                <a:solidFill>
                  <a:schemeClr val="tx2"/>
                </a:solidFill>
              </a:rPr>
              <a:t>Schedule of Accommodation</a:t>
            </a:r>
            <a:endParaRPr lang="en-US" sz="1600" b="1" dirty="0">
              <a:solidFill>
                <a:schemeClr val="tx2"/>
              </a:solidFill>
            </a:endParaRPr>
          </a:p>
        </p:txBody>
      </p:sp>
      <p:sp>
        <p:nvSpPr>
          <p:cNvPr id="19" name="TextBox 18">
            <a:extLst>
              <a:ext uri="{FF2B5EF4-FFF2-40B4-BE49-F238E27FC236}">
                <a16:creationId xmlns:a16="http://schemas.microsoft.com/office/drawing/2014/main" id="{D9D03479-6149-562F-49FD-59B717A4D8AA}"/>
              </a:ext>
            </a:extLst>
          </p:cNvPr>
          <p:cNvSpPr txBox="1"/>
          <p:nvPr/>
        </p:nvSpPr>
        <p:spPr>
          <a:xfrm>
            <a:off x="4631470" y="3754805"/>
            <a:ext cx="2707160" cy="507831"/>
          </a:xfrm>
          <a:prstGeom prst="rect">
            <a:avLst/>
          </a:prstGeom>
          <a:noFill/>
          <a:ln>
            <a:noFill/>
          </a:ln>
          <a:effectLst/>
        </p:spPr>
        <p:txBody>
          <a:bodyPr wrap="square">
            <a:spAutoFit/>
          </a:bodyPr>
          <a:lstStyle/>
          <a:p>
            <a:r>
              <a:rPr lang="en-US" sz="900" i="1" dirty="0"/>
              <a:t>Any intended purchaser will need to satisfy themselves as to the exact area of the subject property</a:t>
            </a:r>
          </a:p>
        </p:txBody>
      </p:sp>
      <p:pic>
        <p:nvPicPr>
          <p:cNvPr id="11" name="Picture 10" descr="A person riding a bicycle on a street&#10;&#10;Description automatically generated">
            <a:extLst>
              <a:ext uri="{FF2B5EF4-FFF2-40B4-BE49-F238E27FC236}">
                <a16:creationId xmlns:a16="http://schemas.microsoft.com/office/drawing/2014/main" id="{E5500043-4453-4896-5431-860F8EB4060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61878" y="4211061"/>
            <a:ext cx="4299385" cy="3300893"/>
          </a:xfrm>
          <a:prstGeom prst="rect">
            <a:avLst/>
          </a:prstGeom>
        </p:spPr>
      </p:pic>
      <p:pic>
        <p:nvPicPr>
          <p:cNvPr id="21" name="Picture 20" descr="A map of a city&#10;&#10;Description automatically generated">
            <a:extLst>
              <a:ext uri="{FF2B5EF4-FFF2-40B4-BE49-F238E27FC236}">
                <a16:creationId xmlns:a16="http://schemas.microsoft.com/office/drawing/2014/main" id="{43D07F37-15D2-25E8-0642-8A55FE331E4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0" y="4211061"/>
            <a:ext cx="3261878" cy="3300894"/>
          </a:xfrm>
          <a:prstGeom prst="rect">
            <a:avLst/>
          </a:prstGeom>
        </p:spPr>
      </p:pic>
      <p:sp>
        <p:nvSpPr>
          <p:cNvPr id="30" name="TextBox 29">
            <a:extLst>
              <a:ext uri="{FF2B5EF4-FFF2-40B4-BE49-F238E27FC236}">
                <a16:creationId xmlns:a16="http://schemas.microsoft.com/office/drawing/2014/main" id="{5CEF945E-43E5-4AFC-61D5-4AF560ACF303}"/>
              </a:ext>
            </a:extLst>
          </p:cNvPr>
          <p:cNvSpPr txBox="1"/>
          <p:nvPr/>
        </p:nvSpPr>
        <p:spPr>
          <a:xfrm>
            <a:off x="252950" y="7745819"/>
            <a:ext cx="3452883" cy="430887"/>
          </a:xfrm>
          <a:prstGeom prst="rect">
            <a:avLst/>
          </a:prstGeom>
          <a:noFill/>
          <a:ln>
            <a:noFill/>
          </a:ln>
          <a:effectLst/>
        </p:spPr>
        <p:txBody>
          <a:bodyPr vert="horz" wrap="square" lIns="0" tIns="0" rIns="0" bIns="0" rtlCol="0">
            <a:spAutoFit/>
          </a:bodyPr>
          <a:lstStyle/>
          <a:p>
            <a:r>
              <a:rPr lang="en-GB" sz="1600" b="1" dirty="0">
                <a:solidFill>
                  <a:schemeClr val="tx2"/>
                </a:solidFill>
              </a:rPr>
              <a:t> </a:t>
            </a:r>
          </a:p>
          <a:p>
            <a:r>
              <a:rPr lang="en-GB" sz="1200" dirty="0"/>
              <a:t>Seeking offers in excess of </a:t>
            </a:r>
            <a:r>
              <a:rPr lang="en-US" sz="1200" dirty="0"/>
              <a:t>€</a:t>
            </a:r>
            <a:r>
              <a:rPr lang="en-GB" sz="1200" dirty="0"/>
              <a:t>900,000.</a:t>
            </a:r>
            <a:r>
              <a:rPr lang="en-GB" sz="1200" b="1" dirty="0">
                <a:solidFill>
                  <a:schemeClr val="tx2"/>
                </a:solidFill>
              </a:rPr>
              <a:t> </a:t>
            </a:r>
            <a:endParaRPr lang="en-US" sz="1200" dirty="0"/>
          </a:p>
        </p:txBody>
      </p:sp>
      <p:sp>
        <p:nvSpPr>
          <p:cNvPr id="32" name="TextBox 31">
            <a:extLst>
              <a:ext uri="{FF2B5EF4-FFF2-40B4-BE49-F238E27FC236}">
                <a16:creationId xmlns:a16="http://schemas.microsoft.com/office/drawing/2014/main" id="{277659E4-5CBB-9475-C75F-65A96FB049EE}"/>
              </a:ext>
            </a:extLst>
          </p:cNvPr>
          <p:cNvSpPr txBox="1"/>
          <p:nvPr/>
        </p:nvSpPr>
        <p:spPr>
          <a:xfrm>
            <a:off x="3529420" y="7961263"/>
            <a:ext cx="2309163" cy="390556"/>
          </a:xfrm>
          <a:prstGeom prst="rect">
            <a:avLst/>
          </a:prstGeom>
          <a:noFill/>
          <a:ln>
            <a:noFill/>
          </a:ln>
          <a:effectLst/>
        </p:spPr>
        <p:txBody>
          <a:bodyPr vert="horz" wrap="square" lIns="0" tIns="0" rIns="0" bIns="0" rtlCol="0">
            <a:spAutoFit/>
          </a:bodyPr>
          <a:lstStyle/>
          <a:p>
            <a:pPr>
              <a:lnSpc>
                <a:spcPct val="110000"/>
              </a:lnSpc>
            </a:pPr>
            <a:r>
              <a:rPr lang="en-US" sz="1200" dirty="0"/>
              <a:t>Strictly by appointment through sole selling agent</a:t>
            </a:r>
          </a:p>
        </p:txBody>
      </p:sp>
      <p:pic>
        <p:nvPicPr>
          <p:cNvPr id="34" name="Picture 33" descr="A black and yellow logo&#10;&#10;Description automatically generated">
            <a:extLst>
              <a:ext uri="{FF2B5EF4-FFF2-40B4-BE49-F238E27FC236}">
                <a16:creationId xmlns:a16="http://schemas.microsoft.com/office/drawing/2014/main" id="{B88F91CC-DE80-46B5-0417-D56788CAE27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52950" y="8846916"/>
            <a:ext cx="1175901" cy="426998"/>
          </a:xfrm>
          <a:prstGeom prst="rect">
            <a:avLst/>
          </a:prstGeom>
        </p:spPr>
      </p:pic>
    </p:spTree>
    <p:extLst>
      <p:ext uri="{BB962C8B-B14F-4D97-AF65-F5344CB8AC3E}">
        <p14:creationId xmlns:p14="http://schemas.microsoft.com/office/powerpoint/2010/main" val="6768255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1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QvCU_mOESK0m1tU9aQN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qrap05rjXkO29QxZoykb4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vLQTMng0sUaFhkrt.FlPZ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G2Hb9lEIV0unrbdntOU2Y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Iu_fEkSRa0eaF7luam.w_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8biRgSpiyUKd6kQBDtwFs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4j0VIV4470.1BabNQoIDG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3spGu8JqR0CIRy7XBbUrc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9th7UAHfSU.rc9SHP3wQE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kOiefUZDMU2P7N8vLzGLi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xuRwsmZO0kuTriKsTl8.4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PwBW0lSDkEiWJCRHfsaWQ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xuRwsmZO0kuTriKsTl8.4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PwBW0lSDkEiWJCRHfsaWQ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xuRwsmZO0kuTriKsTl8.4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PwBW0lSDkEiWJCRHfsaWQ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xuRwsmZO0kuTriKsTl8.4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PwBW0lSDkEiWJCRHfsaWQ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Ny7ACxU4h0mwSw8vawDVL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v.lEPfE1HEmVOqN990lJS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Kn5gWn.xIkqYwS8N6_8ru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mQc3bOrus0qC6iZij432F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hfTvqZylGUSDkxfW6pmeC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A7hHYyrJwky1.tzLe1nr9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Gg_s77M7REGTT0YaQtkjY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xuut1O0waEKMWQs48kOJN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A7hHYyrJwky1.tzLe1nr9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A7hHYyrJwky1.tzLe1nr9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xuut1O0waEKMWQs48kOJN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xuut1O0waEKMWQs48kOJN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XFUWzq2KPkG2MGsL3HnxQ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mQc3bOrus0qC6iZij432F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Gg_s77M7REGTT0YaQtkjY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A7hHYyrJwky1.tzLe1nr9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A7hHYyrJwky1.tzLe1nr9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xuut1O0waEKMWQs48kOJN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xuut1O0waEKMWQs48kOJN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mQc3bOrus0qC6iZij432F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Gg_s77M7REGTT0YaQtkjY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A7hHYyrJwky1.tzLe1nr9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A7hHYyrJwky1.tzLe1nr9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xuut1O0waEKMWQs48kOJN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xuut1O0waEKMWQs48kOJN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mQc3bOrus0qC6iZij432F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Gg_s77M7REGTT0YaQtkjY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_bnLOWqJkmB2.W3aK9tg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VnO9FM5ly0yDjeH8lMvIH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RoLiHhuqW0KWQbZCftysp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fTvqZylGUSDkxfW6pmeC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VzUex0ruSUGXX1mE0Rmso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FUWzq2KPkG2MGsL3HnxQ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vr31s2RzE2j7rNtQ65Pn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VArDqNtmUODjKvLqYneH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af3nOZJd1EijlU_s0DZHV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6s9ECJ5S0KdZeunK2BfH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4AZv5ckKt0WtoL8qP8iHP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8dOxAiyfbUOCVdZu.I2hj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LHMhcWI40CD1VmBN8Fry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_uUCOYT.SkukQSB7wp_w3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5s3gkYJg0EOBN562FE5UO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jZ73dhV8E.zth_k4c8E5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_bnLOWqJkmB2.W3aK9t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4gEO1WjyU6lO0v4u68up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1Y0F8qz9AUq63AAs2U30E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_bnLOWqJkmB2.W3aK9tg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htSANASBEUGX10FTEYlXH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4njQtZHQ0CTAnX_7A_OI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KcwaY9pV0aH5YbFKPX2H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49PgX8gQKUCqgip5VMOlH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49PgX8gQKUCqgip5VMOlH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49PgX8gQKUCqgip5VMOlH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GHZp9A0fYUqbARhGq_3wq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QvCU_mOESK0m1tU9aQN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bqp.wZLGkE.n43yNBif5n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HXlUvvTYVUOp4WOeXGxi1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bqp.wZLGkE.n43yNBif5n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HXlUvvTYVUOp4WOeXGxi1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bqp.wZLGkE.n43yNBif5n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HXlUvvTYVUOp4WOeXGxi1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bqp.wZLGkE.n43yNBif5n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HXlUvvTYVUOp4WOeXGxi1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BPwD0s169UqEM.quluZhd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ELCArVDKQE6tdQMLU7r_B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3wirbK3abUKQiPShOO24S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qrap05rjXkO29QxZoykb4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LQTMng0sUaFhkrt.FlPZ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G2Hb9lEIV0unrbdntOU2Y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Iu_fEkSRa0eaF7luam.w_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8biRgSpiyUKd6kQBDtwFs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4j0VIV4470.1BabNQoIDG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3spGu8JqR0CIRy7XBbUrc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ZX6LpS2skq6D23eW31ma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9th7UAHfSU.rc9SHP3wQE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kOiefUZDMU2P7N8vLzGLi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BPwD0s169UqEM.quluZhd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ELCArVDKQE6tdQMLU7r_B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3wirbK3abUKQiPShOO24S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qrap05rjXkO29QxZoykb4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vLQTMng0sUaFhkrt.FlPZ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G2Hb9lEIV0unrbdntOU2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KcwaY9pV0aH5YbFKPX2H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Iu_fEkSRa0eaF7luam.w_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8biRgSpiyUKd6kQBDtwFs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4j0VIV4470.1BabNQoIDG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spGu8JqR0CIRy7XBbUrc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9th7UAHfSU.rc9SHP3wQE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kOiefUZDMU2P7N8vLzGLi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XnJ7vOjzpkGoGPR34gqqJ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BPwD0s169UqEM.quluZhd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ELCArVDKQE6tdQMLU7r_B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3wirbK3abUKQiPShOO24Sg"/>
</p:tagLst>
</file>

<file path=ppt/theme/theme1.xml><?xml version="1.0" encoding="utf-8"?>
<a:theme xmlns:a="http://schemas.openxmlformats.org/drawingml/2006/main" name="CUS100046_CW PPT A4 portrait template">
  <a:themeElements>
    <a:clrScheme name="C&amp;W Template colours_2015">
      <a:dk1>
        <a:srgbClr val="696B6B"/>
      </a:dk1>
      <a:lt1>
        <a:srgbClr val="FFFFFF"/>
      </a:lt1>
      <a:dk2>
        <a:srgbClr val="E4002B"/>
      </a:dk2>
      <a:lt2>
        <a:srgbClr val="9BD3DD"/>
      </a:lt2>
      <a:accent1>
        <a:srgbClr val="0093B2"/>
      </a:accent1>
      <a:accent2>
        <a:srgbClr val="696B6B"/>
      </a:accent2>
      <a:accent3>
        <a:srgbClr val="A6192E"/>
      </a:accent3>
      <a:accent4>
        <a:srgbClr val="B5BD00"/>
      </a:accent4>
      <a:accent5>
        <a:srgbClr val="FF671F"/>
      </a:accent5>
      <a:accent6>
        <a:srgbClr val="003865"/>
      </a:accent6>
      <a:hlink>
        <a:srgbClr val="0093B2"/>
      </a:hlink>
      <a:folHlink>
        <a:srgbClr val="E4002B"/>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54000" tIns="54000" rIns="54000" bIns="54000" rtlCol="0" anchor="ctr" anchorCtr="1"/>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ln>
          <a:noFill/>
        </a:ln>
        <a:effectLst/>
      </a:spPr>
      <a:bodyPr vert="horz" wrap="square" lIns="0" tIns="0" rIns="0" bIns="0" rtlCol="0">
        <a:spAutoFit/>
      </a:bodyPr>
      <a:lstStyle>
        <a:defPPr>
          <a:lnSpc>
            <a:spcPct val="110000"/>
          </a:lnSpc>
          <a:defRPr sz="1200" dirty="0" smtClean="0"/>
        </a:defPPr>
      </a:lstStyle>
    </a:txDef>
  </a:objectDefaults>
  <a:extraClrSchemeLst/>
  <a:custClrLst>
    <a:custClr>
      <a:srgbClr val="FFFFFF"/>
    </a:custClr>
    <a:custClr>
      <a:srgbClr val="969797"/>
    </a:custClr>
    <a:custClr>
      <a:srgbClr val="B9E0E7"/>
    </a:custClr>
    <a:custClr>
      <a:srgbClr val="E4002B"/>
    </a:custClr>
    <a:custClr>
      <a:srgbClr val="56AAC6"/>
    </a:custClr>
    <a:custClr>
      <a:srgbClr val="7E7B7D"/>
    </a:custClr>
    <a:custClr>
      <a:srgbClr val="C15E6D"/>
    </a:custClr>
    <a:custClr>
      <a:srgbClr val="C9CE71"/>
    </a:custClr>
    <a:custClr>
      <a:srgbClr val="FF9863"/>
    </a:custClr>
    <a:custClr>
      <a:srgbClr val="526180"/>
    </a:custClr>
    <a:custClr>
      <a:srgbClr val="FFFFFF"/>
    </a:custClr>
    <a:custClr>
      <a:srgbClr val="C3C4C4"/>
    </a:custClr>
    <a:custClr>
      <a:srgbClr val="D9ECEB"/>
    </a:custClr>
    <a:custClr>
      <a:srgbClr val="FFFFFF"/>
    </a:custClr>
    <a:custClr>
      <a:srgbClr val="9EC8DB"/>
    </a:custClr>
    <a:custClr>
      <a:srgbClr val="ABA9AA"/>
    </a:custClr>
    <a:custClr>
      <a:srgbClr val="DBA3AB"/>
    </a:custClr>
    <a:custClr>
      <a:srgbClr val="DEE1AA"/>
    </a:custClr>
    <a:custClr>
      <a:srgbClr val="FFC5A3"/>
    </a:custClr>
    <a:custClr>
      <a:srgbClr val="99AFC1"/>
    </a:custClr>
    <a:custClr>
      <a:srgbClr val="FFFFFF"/>
    </a:custClr>
    <a:custClr>
      <a:srgbClr val="EAEAEA"/>
    </a:custClr>
    <a:custClr>
      <a:srgbClr val="EBF6F8"/>
    </a:custClr>
    <a:custClr>
      <a:srgbClr val="FFFFFF"/>
    </a:custClr>
    <a:custClr>
      <a:srgbClr val="CCE9F0"/>
    </a:custClr>
    <a:custClr>
      <a:srgbClr val="D0CECF"/>
    </a:custClr>
    <a:custClr>
      <a:srgbClr val="EDD1D5"/>
    </a:custClr>
    <a:custClr>
      <a:srgbClr val="EEF0D3"/>
    </a:custClr>
    <a:custClr>
      <a:srgbClr val="FFE2D0"/>
    </a:custClr>
    <a:custClr>
      <a:srgbClr val="CCD7E0"/>
    </a:custClr>
  </a:custClrLst>
  <a:extLst>
    <a:ext uri="{05A4C25C-085E-4340-85A3-A5531E510DB2}">
      <thm15:themeFamily xmlns:thm15="http://schemas.microsoft.com/office/thememl/2012/main" name="18. A4 Portrait Template .potx" id="{A213F5D0-18BB-40EF-9FC4-338AC34C099C}" vid="{6E8CD2D2-18BA-406A-9618-7BF8A68FA7CD}"/>
    </a:ext>
  </a:extLst>
</a:theme>
</file>

<file path=ppt/theme/theme2.xml><?xml version="1.0" encoding="utf-8"?>
<a:theme xmlns:a="http://schemas.openxmlformats.org/drawingml/2006/main" name="CUS100046_Old colours">
  <a:themeElements>
    <a:clrScheme name="C&amp;W_Current">
      <a:dk1>
        <a:srgbClr val="696B6B"/>
      </a:dk1>
      <a:lt1>
        <a:srgbClr val="FFFFFF"/>
      </a:lt1>
      <a:dk2>
        <a:srgbClr val="E4002B"/>
      </a:dk2>
      <a:lt2>
        <a:srgbClr val="9BD3D3"/>
      </a:lt2>
      <a:accent1>
        <a:srgbClr val="0093B2"/>
      </a:accent1>
      <a:accent2>
        <a:srgbClr val="696B6B"/>
      </a:accent2>
      <a:accent3>
        <a:srgbClr val="A6192E"/>
      </a:accent3>
      <a:accent4>
        <a:srgbClr val="B5BD00"/>
      </a:accent4>
      <a:accent5>
        <a:srgbClr val="FF671F"/>
      </a:accent5>
      <a:accent6>
        <a:srgbClr val="003865"/>
      </a:accent6>
      <a:hlink>
        <a:srgbClr val="696B6B"/>
      </a:hlink>
      <a:folHlink>
        <a:srgbClr val="0093B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54000" tIns="54000" rIns="54000" bIns="54000" rtlCol="0" anchor="ctr" anchorCtr="1"/>
      <a:lstStyle>
        <a:defPPr algn="ctr">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Aft>
            <a:spcPts val="600"/>
          </a:spcAft>
          <a:defRPr sz="1200" dirty="0" err="1" smtClean="0"/>
        </a:defPPr>
      </a:lstStyle>
    </a:txDef>
  </a:objectDefaults>
  <a:extraClrSchemeLst/>
  <a:custClrLst>
    <a:custClr>
      <a:srgbClr val="FFFFFF"/>
    </a:custClr>
    <a:custClr>
      <a:srgbClr val="969797"/>
    </a:custClr>
    <a:custClr>
      <a:srgbClr val="B9E0E7"/>
    </a:custClr>
    <a:custClr>
      <a:srgbClr val="E4002B"/>
    </a:custClr>
    <a:custClr>
      <a:srgbClr val="56AAC6"/>
    </a:custClr>
    <a:custClr>
      <a:srgbClr val="7E7B7D"/>
    </a:custClr>
    <a:custClr>
      <a:srgbClr val="C15E6D"/>
    </a:custClr>
    <a:custClr>
      <a:srgbClr val="C9CE71"/>
    </a:custClr>
    <a:custClr>
      <a:srgbClr val="FF9863"/>
    </a:custClr>
    <a:custClr>
      <a:srgbClr val="526180"/>
    </a:custClr>
    <a:custClr>
      <a:srgbClr val="FFFFFF"/>
    </a:custClr>
    <a:custClr>
      <a:srgbClr val="C3C4C4"/>
    </a:custClr>
    <a:custClr>
      <a:srgbClr val="D9ECEB"/>
    </a:custClr>
    <a:custClr>
      <a:srgbClr val="FFFFFF"/>
    </a:custClr>
    <a:custClr>
      <a:srgbClr val="9EC8DB"/>
    </a:custClr>
    <a:custClr>
      <a:srgbClr val="ABA9AA"/>
    </a:custClr>
    <a:custClr>
      <a:srgbClr val="DBA3AB"/>
    </a:custClr>
    <a:custClr>
      <a:srgbClr val="DEE1AA"/>
    </a:custClr>
    <a:custClr>
      <a:srgbClr val="FFC5A3"/>
    </a:custClr>
    <a:custClr>
      <a:srgbClr val="99AFC1"/>
    </a:custClr>
    <a:custClr>
      <a:srgbClr val="FFFFFF"/>
    </a:custClr>
    <a:custClr>
      <a:srgbClr val="EAEAEA"/>
    </a:custClr>
    <a:custClr>
      <a:srgbClr val="EBF6F8"/>
    </a:custClr>
    <a:custClr>
      <a:srgbClr val="FFFFFF"/>
    </a:custClr>
    <a:custClr>
      <a:srgbClr val="CCE9F0"/>
    </a:custClr>
    <a:custClr>
      <a:srgbClr val="D0CECF"/>
    </a:custClr>
    <a:custClr>
      <a:srgbClr val="EDD1D5"/>
    </a:custClr>
    <a:custClr>
      <a:srgbClr val="EEF0D3"/>
    </a:custClr>
    <a:custClr>
      <a:srgbClr val="FFE2D0"/>
    </a:custClr>
    <a:custClr>
      <a:srgbClr val="CCD7E0"/>
    </a:custClr>
  </a:custClrLst>
  <a:extLst>
    <a:ext uri="{05A4C25C-085E-4340-85A3-A5531E510DB2}">
      <thm15:themeFamily xmlns:thm15="http://schemas.microsoft.com/office/thememl/2012/main" name="CUS100046_C&amp;W PPT A4 landscape template v01.potx" id="{D0CB58C4-BFC3-411D-80CA-623AFBC41039}" vid="{8F0D90CF-868E-4C7D-AF3A-51BE230F264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18. A4 Portrait Template </Template>
  <TotalTime>36067</TotalTime>
  <Words>623</Words>
  <Application>Microsoft Office PowerPoint</Application>
  <PresentationFormat>Custom</PresentationFormat>
  <Paragraphs>80</Paragraphs>
  <Slides>3</Slides>
  <Notes>3</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9" baseType="lpstr">
      <vt:lpstr>Arial</vt:lpstr>
      <vt:lpstr>Calibri</vt:lpstr>
      <vt:lpstr>Georgia</vt:lpstr>
      <vt:lpstr>Symbol</vt:lpstr>
      <vt:lpstr>CUS100046_CW PPT A4 portrait template</vt:lpstr>
      <vt:lpstr>think-cell Slide</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erri FitzGerald</dc:creator>
  <cp:lastModifiedBy>Niall Kellegher/IRL</cp:lastModifiedBy>
  <cp:revision>273</cp:revision>
  <cp:lastPrinted>2016-09-28T14:37:35Z</cp:lastPrinted>
  <dcterms:created xsi:type="dcterms:W3CDTF">2016-08-16T07:19:48Z</dcterms:created>
  <dcterms:modified xsi:type="dcterms:W3CDTF">2024-02-19T17:30:04Z</dcterms:modified>
</cp:coreProperties>
</file>